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4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rts/chart4.xml" ContentType="application/vnd.openxmlformats-officedocument.drawingml.chart+xml"/>
  <Override PartName="/ppt/theme/themeOverride1.xml" ContentType="application/vnd.openxmlformats-officedocument.themeOverr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charts/chart5.xml" ContentType="application/vnd.openxmlformats-officedocument.drawingml.chart+xml"/>
  <Override PartName="/ppt/theme/themeOverride2.xml" ContentType="application/vnd.openxmlformats-officedocument.themeOverr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4" r:id="rId2"/>
    <p:sldMasterId id="2147483761" r:id="rId3"/>
    <p:sldMasterId id="2147483774" r:id="rId4"/>
    <p:sldMasterId id="2147483782" r:id="rId5"/>
  </p:sldMasterIdLst>
  <p:notesMasterIdLst>
    <p:notesMasterId r:id="rId24"/>
  </p:notesMasterIdLst>
  <p:handoutMasterIdLst>
    <p:handoutMasterId r:id="rId25"/>
  </p:handoutMasterIdLst>
  <p:sldIdLst>
    <p:sldId id="1277" r:id="rId6"/>
    <p:sldId id="1293" r:id="rId7"/>
    <p:sldId id="1294" r:id="rId8"/>
    <p:sldId id="1296" r:id="rId9"/>
    <p:sldId id="1372" r:id="rId10"/>
    <p:sldId id="1371" r:id="rId11"/>
    <p:sldId id="1373" r:id="rId12"/>
    <p:sldId id="1376" r:id="rId13"/>
    <p:sldId id="1374" r:id="rId14"/>
    <p:sldId id="1375" r:id="rId15"/>
    <p:sldId id="1378" r:id="rId16"/>
    <p:sldId id="1377" r:id="rId17"/>
    <p:sldId id="1380" r:id="rId18"/>
    <p:sldId id="1379" r:id="rId19"/>
    <p:sldId id="1343" r:id="rId20"/>
    <p:sldId id="1344" r:id="rId21"/>
    <p:sldId id="1345" r:id="rId22"/>
    <p:sldId id="1346" r:id="rId23"/>
  </p:sldIdLst>
  <p:sldSz cx="12192000" cy="6858000"/>
  <p:notesSz cx="6950075" cy="9236075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FEEC50D9-8969-43BB-8724-35975469CB2C}">
          <p14:sldIdLst>
            <p14:sldId id="1277"/>
            <p14:sldId id="1293"/>
            <p14:sldId id="1294"/>
            <p14:sldId id="1296"/>
            <p14:sldId id="1372"/>
            <p14:sldId id="1371"/>
            <p14:sldId id="1373"/>
            <p14:sldId id="1376"/>
            <p14:sldId id="1374"/>
            <p14:sldId id="1375"/>
            <p14:sldId id="1378"/>
            <p14:sldId id="1377"/>
            <p14:sldId id="1380"/>
            <p14:sldId id="1379"/>
            <p14:sldId id="1343"/>
            <p14:sldId id="1344"/>
            <p14:sldId id="1345"/>
            <p14:sldId id="134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yselý Zdeněk Mgr." initials="KZM" lastIdx="1" clrIdx="0">
    <p:extLst>
      <p:ext uri="{19B8F6BF-5375-455C-9EA6-DF929625EA0E}">
        <p15:presenceInfo xmlns:p15="http://schemas.microsoft.com/office/powerpoint/2012/main" userId="S::kyselyz@mzcr.cz::e6a1abba-87fa-4d0d-8be7-ec655e9b706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B69"/>
    <a:srgbClr val="FF7575"/>
    <a:srgbClr val="FD783D"/>
    <a:srgbClr val="FF572F"/>
    <a:srgbClr val="FF7453"/>
    <a:srgbClr val="FF5D37"/>
    <a:srgbClr val="F1592F"/>
    <a:srgbClr val="FF3300"/>
    <a:srgbClr val="FFD243"/>
    <a:srgbClr val="FF7A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8603FDC-E32A-4AB5-989C-0864C3EAD2B8}" styleName="Styl s motivem 2 – zvýraznění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5BE263C-DBD7-4A20-BB59-AAB30ACAA65A}" styleName="Střední styl 3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Střední styl 3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Světlý styl 2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181" autoAdjust="0"/>
    <p:restoredTop sz="94548" autoAdjust="0"/>
  </p:normalViewPr>
  <p:slideViewPr>
    <p:cSldViewPr snapToGrid="0">
      <p:cViewPr varScale="1">
        <p:scale>
          <a:sx n="109" d="100"/>
          <a:sy n="109" d="100"/>
        </p:scale>
        <p:origin x="888" y="9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78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List_aplikace_Microsoft_Excel3.xlsx"/><Relationship Id="rId1" Type="http://schemas.openxmlformats.org/officeDocument/2006/relationships/themeOverride" Target="../theme/themeOverride1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List_aplikace_Microsoft_Excel4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8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B73-42C7-B0A5-249A45A05BD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Ústecký kraj</c:v>
                </c:pt>
                <c:pt idx="2">
                  <c:v>Plzeňský kraj</c:v>
                </c:pt>
                <c:pt idx="3">
                  <c:v>Jihočeský kraj</c:v>
                </c:pt>
                <c:pt idx="4">
                  <c:v>Jihomoravský kraj</c:v>
                </c:pt>
                <c:pt idx="5">
                  <c:v>Pardubický kraj</c:v>
                </c:pt>
                <c:pt idx="6">
                  <c:v>Liberecký kraj</c:v>
                </c:pt>
                <c:pt idx="7">
                  <c:v>Zlínský kraj</c:v>
                </c:pt>
                <c:pt idx="8">
                  <c:v>ČR</c:v>
                </c:pt>
                <c:pt idx="9">
                  <c:v>Moravskoslezský kraj</c:v>
                </c:pt>
                <c:pt idx="10">
                  <c:v>Olomoucký kraj</c:v>
                </c:pt>
                <c:pt idx="11">
                  <c:v>Karlovarský kraj</c:v>
                </c:pt>
                <c:pt idx="12">
                  <c:v>Středočeský kraj</c:v>
                </c:pt>
                <c:pt idx="13">
                  <c:v>Hlavní město Praha</c:v>
                </c:pt>
                <c:pt idx="14">
                  <c:v>Královéhradecký kraj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431282346175</c:v>
                </c:pt>
                <c:pt idx="1">
                  <c:v>0.38471760797299998</c:v>
                </c:pt>
                <c:pt idx="2">
                  <c:v>0.36138613861300001</c:v>
                </c:pt>
                <c:pt idx="3">
                  <c:v>0.34577723378199998</c:v>
                </c:pt>
                <c:pt idx="4">
                  <c:v>0.336665333866</c:v>
                </c:pt>
                <c:pt idx="5">
                  <c:v>0.32395950506100002</c:v>
                </c:pt>
                <c:pt idx="6">
                  <c:v>0.29397293972900002</c:v>
                </c:pt>
                <c:pt idx="7">
                  <c:v>0.28492239467800001</c:v>
                </c:pt>
                <c:pt idx="8">
                  <c:v>0.28024832687500001</c:v>
                </c:pt>
                <c:pt idx="9">
                  <c:v>0.251062322946</c:v>
                </c:pt>
                <c:pt idx="10">
                  <c:v>0.23157162726</c:v>
                </c:pt>
                <c:pt idx="11">
                  <c:v>0.22966507177000001</c:v>
                </c:pt>
                <c:pt idx="12">
                  <c:v>0.20201484623499999</c:v>
                </c:pt>
                <c:pt idx="13">
                  <c:v>0.16470588235200001</c:v>
                </c:pt>
                <c:pt idx="14">
                  <c:v>0.159771754635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4472C4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9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85D-4210-8188-95336DAD99A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Jihomoravský kraj</c:v>
                </c:pt>
                <c:pt idx="2">
                  <c:v>Středočeský kraj</c:v>
                </c:pt>
                <c:pt idx="3">
                  <c:v>Jihočeský kraj</c:v>
                </c:pt>
                <c:pt idx="4">
                  <c:v>Královéhradecký kraj</c:v>
                </c:pt>
                <c:pt idx="5">
                  <c:v>Pardubický kraj</c:v>
                </c:pt>
                <c:pt idx="6">
                  <c:v>ČR</c:v>
                </c:pt>
                <c:pt idx="7">
                  <c:v>Ústecký kraj</c:v>
                </c:pt>
                <c:pt idx="8">
                  <c:v>Plzeňský kraj</c:v>
                </c:pt>
                <c:pt idx="9">
                  <c:v>Zlínský kraj</c:v>
                </c:pt>
                <c:pt idx="10">
                  <c:v>Olomoucký kraj</c:v>
                </c:pt>
                <c:pt idx="11">
                  <c:v>Moravskoslezský kraj</c:v>
                </c:pt>
                <c:pt idx="12">
                  <c:v>Liberecký kraj</c:v>
                </c:pt>
                <c:pt idx="13">
                  <c:v>Hlavní město Praha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48484848484800003</c:v>
                </c:pt>
                <c:pt idx="1">
                  <c:v>0.43023255813900002</c:v>
                </c:pt>
                <c:pt idx="2">
                  <c:v>0.372807017543</c:v>
                </c:pt>
                <c:pt idx="3">
                  <c:v>0.37062937062899998</c:v>
                </c:pt>
                <c:pt idx="4">
                  <c:v>0.36956521739100001</c:v>
                </c:pt>
                <c:pt idx="5">
                  <c:v>0.35877862595400001</c:v>
                </c:pt>
                <c:pt idx="6">
                  <c:v>0.29667308220999999</c:v>
                </c:pt>
                <c:pt idx="7">
                  <c:v>0.295880149812</c:v>
                </c:pt>
                <c:pt idx="8">
                  <c:v>0.29249011857700002</c:v>
                </c:pt>
                <c:pt idx="9">
                  <c:v>0.289617486338</c:v>
                </c:pt>
                <c:pt idx="10">
                  <c:v>0.26701570680600001</c:v>
                </c:pt>
                <c:pt idx="11">
                  <c:v>0.26326129665999998</c:v>
                </c:pt>
                <c:pt idx="12">
                  <c:v>0.20792079207899999</c:v>
                </c:pt>
                <c:pt idx="13">
                  <c:v>0.19289340101499999</c:v>
                </c:pt>
                <c:pt idx="14">
                  <c:v>0.142857142856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9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187C-4B26-A62C-8D83AD58094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Jihomoravský kraj</c:v>
                </c:pt>
                <c:pt idx="2">
                  <c:v>Kraj Vysočina</c:v>
                </c:pt>
                <c:pt idx="3">
                  <c:v>Středočeský kraj</c:v>
                </c:pt>
                <c:pt idx="4">
                  <c:v>Ústecký kraj</c:v>
                </c:pt>
                <c:pt idx="5">
                  <c:v>Královéhradecký kraj</c:v>
                </c:pt>
                <c:pt idx="6">
                  <c:v>Olomoucký kraj</c:v>
                </c:pt>
                <c:pt idx="7">
                  <c:v>Zlínský kraj</c:v>
                </c:pt>
                <c:pt idx="8">
                  <c:v>Moravskoslezský kraj</c:v>
                </c:pt>
                <c:pt idx="9">
                  <c:v>ČR</c:v>
                </c:pt>
                <c:pt idx="10">
                  <c:v>Pardubický kraj</c:v>
                </c:pt>
                <c:pt idx="11">
                  <c:v>Liberecký kraj</c:v>
                </c:pt>
                <c:pt idx="12">
                  <c:v>Plzeňský kraj</c:v>
                </c:pt>
                <c:pt idx="13">
                  <c:v>Hlavní město Praha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375</c:v>
                </c:pt>
                <c:pt idx="1">
                  <c:v>0.344680851063</c:v>
                </c:pt>
                <c:pt idx="2">
                  <c:v>0.33870967741899999</c:v>
                </c:pt>
                <c:pt idx="3">
                  <c:v>0.25</c:v>
                </c:pt>
                <c:pt idx="4">
                  <c:v>0.247933884297</c:v>
                </c:pt>
                <c:pt idx="5">
                  <c:v>0.23684210526300001</c:v>
                </c:pt>
                <c:pt idx="6">
                  <c:v>0.22302158273299999</c:v>
                </c:pt>
                <c:pt idx="7">
                  <c:v>0.21739130434699999</c:v>
                </c:pt>
                <c:pt idx="8">
                  <c:v>0.210355987055</c:v>
                </c:pt>
                <c:pt idx="9">
                  <c:v>0.19883040935599999</c:v>
                </c:pt>
                <c:pt idx="10">
                  <c:v>0.177419354838</c:v>
                </c:pt>
                <c:pt idx="11">
                  <c:v>0.16049382715999999</c:v>
                </c:pt>
                <c:pt idx="12">
                  <c:v>0.13422818791900001</c:v>
                </c:pt>
                <c:pt idx="13">
                  <c:v>7.5630252100000003E-2</c:v>
                </c:pt>
                <c:pt idx="14">
                  <c:v>6.8181818180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244</c:v>
                </c:pt>
                <c:pt idx="1">
                  <c:v>234</c:v>
                </c:pt>
                <c:pt idx="2">
                  <c:v>247</c:v>
                </c:pt>
                <c:pt idx="3">
                  <c:v>302</c:v>
                </c:pt>
                <c:pt idx="4">
                  <c:v>302</c:v>
                </c:pt>
                <c:pt idx="5">
                  <c:v>327</c:v>
                </c:pt>
                <c:pt idx="6">
                  <c:v>316</c:v>
                </c:pt>
                <c:pt idx="7">
                  <c:v>344</c:v>
                </c:pt>
                <c:pt idx="8">
                  <c:v>333</c:v>
                </c:pt>
                <c:pt idx="9">
                  <c:v>350</c:v>
                </c:pt>
                <c:pt idx="10">
                  <c:v>425</c:v>
                </c:pt>
                <c:pt idx="11">
                  <c:v>444</c:v>
                </c:pt>
                <c:pt idx="12">
                  <c:v>470</c:v>
                </c:pt>
                <c:pt idx="13">
                  <c:v>496</c:v>
                </c:pt>
                <c:pt idx="14">
                  <c:v>527</c:v>
                </c:pt>
                <c:pt idx="15">
                  <c:v>515</c:v>
                </c:pt>
                <c:pt idx="16">
                  <c:v>543</c:v>
                </c:pt>
                <c:pt idx="17">
                  <c:v>664</c:v>
                </c:pt>
                <c:pt idx="18">
                  <c:v>733</c:v>
                </c:pt>
                <c:pt idx="19">
                  <c:v>795</c:v>
                </c:pt>
                <c:pt idx="20">
                  <c:v>851</c:v>
                </c:pt>
                <c:pt idx="21">
                  <c:v>923</c:v>
                </c:pt>
                <c:pt idx="22">
                  <c:v>930</c:v>
                </c:pt>
                <c:pt idx="23">
                  <c:v>993</c:v>
                </c:pt>
                <c:pt idx="24">
                  <c:v>1175</c:v>
                </c:pt>
                <c:pt idx="25">
                  <c:v>1294</c:v>
                </c:pt>
                <c:pt idx="26">
                  <c:v>1396</c:v>
                </c:pt>
                <c:pt idx="27">
                  <c:v>1391</c:v>
                </c:pt>
                <c:pt idx="28">
                  <c:v>1578</c:v>
                </c:pt>
                <c:pt idx="29">
                  <c:v>1597</c:v>
                </c:pt>
                <c:pt idx="30">
                  <c:v>1731</c:v>
                </c:pt>
                <c:pt idx="31">
                  <c:v>2105</c:v>
                </c:pt>
                <c:pt idx="32">
                  <c:v>2295</c:v>
                </c:pt>
                <c:pt idx="33">
                  <c:v>2495</c:v>
                </c:pt>
                <c:pt idx="34">
                  <c:v>2660</c:v>
                </c:pt>
                <c:pt idx="35">
                  <c:v>2803</c:v>
                </c:pt>
                <c:pt idx="36">
                  <c:v>2802</c:v>
                </c:pt>
                <c:pt idx="37">
                  <c:v>2952</c:v>
                </c:pt>
                <c:pt idx="38">
                  <c:v>3413</c:v>
                </c:pt>
                <c:pt idx="39">
                  <c:v>3610</c:v>
                </c:pt>
                <c:pt idx="40">
                  <c:v>3755</c:v>
                </c:pt>
                <c:pt idx="41">
                  <c:v>3885</c:v>
                </c:pt>
                <c:pt idx="42">
                  <c:v>4049</c:v>
                </c:pt>
                <c:pt idx="43">
                  <c:v>3988</c:v>
                </c:pt>
                <c:pt idx="44">
                  <c:v>4131</c:v>
                </c:pt>
                <c:pt idx="45">
                  <c:v>4789</c:v>
                </c:pt>
                <c:pt idx="46">
                  <c:v>4864</c:v>
                </c:pt>
                <c:pt idx="47">
                  <c:v>4822</c:v>
                </c:pt>
                <c:pt idx="48">
                  <c:v>5188</c:v>
                </c:pt>
                <c:pt idx="49">
                  <c:v>5316</c:v>
                </c:pt>
                <c:pt idx="50">
                  <c:v>5204</c:v>
                </c:pt>
                <c:pt idx="51">
                  <c:v>5419</c:v>
                </c:pt>
                <c:pt idx="52">
                  <c:v>6016</c:v>
                </c:pt>
                <c:pt idx="53">
                  <c:v>6127</c:v>
                </c:pt>
                <c:pt idx="54">
                  <c:v>6218</c:v>
                </c:pt>
                <c:pt idx="55">
                  <c:v>6330</c:v>
                </c:pt>
                <c:pt idx="56">
                  <c:v>6431</c:v>
                </c:pt>
                <c:pt idx="57">
                  <c:v>6214</c:v>
                </c:pt>
                <c:pt idx="58">
                  <c:v>6416</c:v>
                </c:pt>
                <c:pt idx="59">
                  <c:v>7087</c:v>
                </c:pt>
                <c:pt idx="60">
                  <c:v>7023</c:v>
                </c:pt>
                <c:pt idx="61">
                  <c:v>6972</c:v>
                </c:pt>
                <c:pt idx="62">
                  <c:v>7065</c:v>
                </c:pt>
                <c:pt idx="63">
                  <c:v>7035</c:v>
                </c:pt>
                <c:pt idx="64">
                  <c:v>6564</c:v>
                </c:pt>
                <c:pt idx="65">
                  <c:v>6672</c:v>
                </c:pt>
                <c:pt idx="66">
                  <c:v>7129</c:v>
                </c:pt>
                <c:pt idx="67">
                  <c:v>6910</c:v>
                </c:pt>
                <c:pt idx="68">
                  <c:v>6752</c:v>
                </c:pt>
                <c:pt idx="69">
                  <c:v>6576</c:v>
                </c:pt>
                <c:pt idx="70">
                  <c:v>6378</c:v>
                </c:pt>
                <c:pt idx="71">
                  <c:v>5854</c:v>
                </c:pt>
                <c:pt idx="72">
                  <c:v>5883</c:v>
                </c:pt>
                <c:pt idx="73">
                  <c:v>6368</c:v>
                </c:pt>
                <c:pt idx="74">
                  <c:v>6068</c:v>
                </c:pt>
                <c:pt idx="75">
                  <c:v>5798</c:v>
                </c:pt>
                <c:pt idx="76">
                  <c:v>5539</c:v>
                </c:pt>
                <c:pt idx="77">
                  <c:v>5313</c:v>
                </c:pt>
                <c:pt idx="78">
                  <c:v>48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874.8266915745999</c:v>
                </c:pt>
                <c:pt idx="43">
                  <c:v>4000.7649631137347</c:v>
                </c:pt>
                <c:pt idx="44">
                  <c:v>4126.3636197642345</c:v>
                </c:pt>
                <c:pt idx="45">
                  <c:v>4246.851958635968</c:v>
                </c:pt>
                <c:pt idx="46">
                  <c:v>4357.7449058198672</c:v>
                </c:pt>
                <c:pt idx="47">
                  <c:v>4461.1798325185819</c:v>
                </c:pt>
                <c:pt idx="48">
                  <c:v>4561.4503701634731</c:v>
                </c:pt>
                <c:pt idx="49">
                  <c:v>4660.4655418011043</c:v>
                </c:pt>
                <c:pt idx="50">
                  <c:v>4757.6593438429773</c:v>
                </c:pt>
                <c:pt idx="51">
                  <c:v>4858.1037055510296</c:v>
                </c:pt>
                <c:pt idx="52">
                  <c:v>4955.269813729863</c:v>
                </c:pt>
                <c:pt idx="53">
                  <c:v>5037.851718867676</c:v>
                </c:pt>
                <c:pt idx="54">
                  <c:v>5112.8062867582794</c:v>
                </c:pt>
                <c:pt idx="55">
                  <c:v>5184.835706396997</c:v>
                </c:pt>
                <c:pt idx="56">
                  <c:v>5255.5396750814853</c:v>
                </c:pt>
                <c:pt idx="57">
                  <c:v>5325.598673688386</c:v>
                </c:pt>
                <c:pt idx="58">
                  <c:v>5394.5302687169542</c:v>
                </c:pt>
                <c:pt idx="59">
                  <c:v>5461.5112579097113</c:v>
                </c:pt>
                <c:pt idx="60">
                  <c:v>5523.1067654692479</c:v>
                </c:pt>
                <c:pt idx="61">
                  <c:v>5579.9682808836287</c:v>
                </c:pt>
                <c:pt idx="62">
                  <c:v>5632.7848342359175</c:v>
                </c:pt>
                <c:pt idx="63">
                  <c:v>5681.9344968879623</c:v>
                </c:pt>
                <c:pt idx="64">
                  <c:v>5726.9117901050686</c:v>
                </c:pt>
                <c:pt idx="65">
                  <c:v>5768.6191703553786</c:v>
                </c:pt>
                <c:pt idx="66">
                  <c:v>5806.331035746306</c:v>
                </c:pt>
                <c:pt idx="67">
                  <c:v>5840.2229265257092</c:v>
                </c:pt>
                <c:pt idx="68">
                  <c:v>5868.9282885581742</c:v>
                </c:pt>
                <c:pt idx="69">
                  <c:v>5893.066540476214</c:v>
                </c:pt>
                <c:pt idx="70">
                  <c:v>5913.1832379434618</c:v>
                </c:pt>
                <c:pt idx="71">
                  <c:v>5927.2707698645772</c:v>
                </c:pt>
                <c:pt idx="72">
                  <c:v>5936.7406334869083</c:v>
                </c:pt>
                <c:pt idx="73">
                  <c:v>5941.7682210099592</c:v>
                </c:pt>
                <c:pt idx="74">
                  <c:v>5941.4840299436855</c:v>
                </c:pt>
                <c:pt idx="75">
                  <c:v>5936.195389534023</c:v>
                </c:pt>
                <c:pt idx="76">
                  <c:v>5926.0593653684864</c:v>
                </c:pt>
                <c:pt idx="77">
                  <c:v>5911.4925302807633</c:v>
                </c:pt>
                <c:pt idx="78">
                  <c:v>5891.1145246271162</c:v>
                </c:pt>
                <c:pt idx="79">
                  <c:v>5866.1678405466055</c:v>
                </c:pt>
                <c:pt idx="80">
                  <c:v>5836.6640093508631</c:v>
                </c:pt>
                <c:pt idx="81">
                  <c:v>5801.8842766630705</c:v>
                </c:pt>
                <c:pt idx="82">
                  <c:v>5762.00730520045</c:v>
                </c:pt>
                <c:pt idx="83">
                  <c:v>5718.2310743467187</c:v>
                </c:pt>
                <c:pt idx="84">
                  <c:v>5670.1237920150888</c:v>
                </c:pt>
                <c:pt idx="85">
                  <c:v>5616.8306867096653</c:v>
                </c:pt>
                <c:pt idx="86">
                  <c:v>5560.4493417457879</c:v>
                </c:pt>
                <c:pt idx="87">
                  <c:v>5500.5212514270288</c:v>
                </c:pt>
                <c:pt idx="88">
                  <c:v>5434.9249047022331</c:v>
                </c:pt>
                <c:pt idx="89">
                  <c:v>5366.4713539503819</c:v>
                </c:pt>
                <c:pt idx="90">
                  <c:v>5295.1997817793708</c:v>
                </c:pt>
                <c:pt idx="91">
                  <c:v>5220.5883678919145</c:v>
                </c:pt>
                <c:pt idx="92">
                  <c:v>5141.6385683384133</c:v>
                </c:pt>
                <c:pt idx="93">
                  <c:v>5059.7844572957165</c:v>
                </c:pt>
                <c:pt idx="94">
                  <c:v>4975.64411772108</c:v>
                </c:pt>
                <c:pt idx="95">
                  <c:v>4888.91526968881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883.7724957326495</c:v>
                </c:pt>
                <c:pt idx="43">
                  <c:v>4021.8651703173623</c:v>
                </c:pt>
                <c:pt idx="44">
                  <c:v>4163.0571947267426</c:v>
                </c:pt>
                <c:pt idx="45">
                  <c:v>4302.6712117083398</c:v>
                </c:pt>
                <c:pt idx="46">
                  <c:v>4436.3983667800385</c:v>
                </c:pt>
                <c:pt idx="47">
                  <c:v>4566.3664649222883</c:v>
                </c:pt>
                <c:pt idx="48">
                  <c:v>4696.922545893809</c:v>
                </c:pt>
                <c:pt idx="49">
                  <c:v>4829.8886898653509</c:v>
                </c:pt>
                <c:pt idx="50">
                  <c:v>4964.6851723175723</c:v>
                </c:pt>
                <c:pt idx="51">
                  <c:v>5106.269164907766</c:v>
                </c:pt>
                <c:pt idx="52">
                  <c:v>5248.0490617810729</c:v>
                </c:pt>
                <c:pt idx="53">
                  <c:v>5378.580127219092</c:v>
                </c:pt>
                <c:pt idx="54">
                  <c:v>5504.7041800399766</c:v>
                </c:pt>
                <c:pt idx="55">
                  <c:v>5630.9313152074355</c:v>
                </c:pt>
                <c:pt idx="56">
                  <c:v>5758.5854770970145</c:v>
                </c:pt>
                <c:pt idx="57">
                  <c:v>5887.8355049395122</c:v>
                </c:pt>
                <c:pt idx="58">
                  <c:v>6018.0363754738419</c:v>
                </c:pt>
                <c:pt idx="59">
                  <c:v>6148.1174291578554</c:v>
                </c:pt>
                <c:pt idx="60">
                  <c:v>6274.4753812746858</c:v>
                </c:pt>
                <c:pt idx="61">
                  <c:v>6397.4250467610236</c:v>
                </c:pt>
                <c:pt idx="62">
                  <c:v>6517.4063018172383</c:v>
                </c:pt>
                <c:pt idx="63">
                  <c:v>6634.4979616464334</c:v>
                </c:pt>
                <c:pt idx="64">
                  <c:v>6747.8381258254458</c:v>
                </c:pt>
                <c:pt idx="65">
                  <c:v>6858.0152150647637</c:v>
                </c:pt>
                <c:pt idx="66">
                  <c:v>6964.0475227458246</c:v>
                </c:pt>
                <c:pt idx="67">
                  <c:v>7065.8127870876542</c:v>
                </c:pt>
                <c:pt idx="68">
                  <c:v>7161.6785672445512</c:v>
                </c:pt>
                <c:pt idx="69">
                  <c:v>7251.9875202190015</c:v>
                </c:pt>
                <c:pt idx="70">
                  <c:v>7336.9974130292958</c:v>
                </c:pt>
                <c:pt idx="71">
                  <c:v>7414.4261695508631</c:v>
                </c:pt>
                <c:pt idx="72">
                  <c:v>7485.4020724328948</c:v>
                </c:pt>
                <c:pt idx="73">
                  <c:v>7549.8552017784723</c:v>
                </c:pt>
                <c:pt idx="74">
                  <c:v>7606.6812658407453</c:v>
                </c:pt>
                <c:pt idx="75">
                  <c:v>7655.9601133157576</c:v>
                </c:pt>
                <c:pt idx="76">
                  <c:v>7697.6356567036792</c:v>
                </c:pt>
                <c:pt idx="77">
                  <c:v>7731.9422521323922</c:v>
                </c:pt>
                <c:pt idx="78">
                  <c:v>7757.3172289474423</c:v>
                </c:pt>
                <c:pt idx="79">
                  <c:v>7774.8523594207982</c:v>
                </c:pt>
                <c:pt idx="80">
                  <c:v>7784.4222024789424</c:v>
                </c:pt>
                <c:pt idx="81">
                  <c:v>7785.1904771195786</c:v>
                </c:pt>
                <c:pt idx="82">
                  <c:v>7777.2303691396628</c:v>
                </c:pt>
                <c:pt idx="83">
                  <c:v>7761.6674912508715</c:v>
                </c:pt>
                <c:pt idx="84">
                  <c:v>7738.0130518590777</c:v>
                </c:pt>
                <c:pt idx="85">
                  <c:v>7705.3756244397246</c:v>
                </c:pt>
                <c:pt idx="86">
                  <c:v>7665.8362387460747</c:v>
                </c:pt>
                <c:pt idx="87">
                  <c:v>7618.9391382218619</c:v>
                </c:pt>
                <c:pt idx="88">
                  <c:v>7562.5763308956848</c:v>
                </c:pt>
                <c:pt idx="89">
                  <c:v>7499.6033427889088</c:v>
                </c:pt>
                <c:pt idx="90">
                  <c:v>7430.1080738058808</c:v>
                </c:pt>
                <c:pt idx="91">
                  <c:v>7353.6387736028464</c:v>
                </c:pt>
                <c:pt idx="92">
                  <c:v>7269.1761846328609</c:v>
                </c:pt>
                <c:pt idx="93">
                  <c:v>7178.3251169050318</c:v>
                </c:pt>
                <c:pt idx="94">
                  <c:v>7081.8141108436257</c:v>
                </c:pt>
                <c:pt idx="95">
                  <c:v>6979.4634720415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892.7752822914986</c:v>
                </c:pt>
                <c:pt idx="43">
                  <c:v>4043.1687347470602</c:v>
                </c:pt>
                <c:pt idx="44">
                  <c:v>4200.2470000448029</c:v>
                </c:pt>
                <c:pt idx="45">
                  <c:v>4359.4916428298739</c:v>
                </c:pt>
                <c:pt idx="46">
                  <c:v>4516.8426085193496</c:v>
                </c:pt>
                <c:pt idx="47">
                  <c:v>4674.4950136332509</c:v>
                </c:pt>
                <c:pt idx="48">
                  <c:v>4836.9296358195497</c:v>
                </c:pt>
                <c:pt idx="49">
                  <c:v>5005.9629248299843</c:v>
                </c:pt>
                <c:pt idx="50">
                  <c:v>5181.0823628909493</c:v>
                </c:pt>
                <c:pt idx="51">
                  <c:v>5367.2087561997487</c:v>
                </c:pt>
                <c:pt idx="52">
                  <c:v>5557.7622339853697</c:v>
                </c:pt>
                <c:pt idx="53">
                  <c:v>5741.2274125797849</c:v>
                </c:pt>
                <c:pt idx="54">
                  <c:v>5924.3916908957708</c:v>
                </c:pt>
                <c:pt idx="55">
                  <c:v>6111.6242528419061</c:v>
                </c:pt>
                <c:pt idx="56">
                  <c:v>6304.0139361848651</c:v>
                </c:pt>
                <c:pt idx="57">
                  <c:v>6501.2446122618312</c:v>
                </c:pt>
                <c:pt idx="58">
                  <c:v>6702.522830665479</c:v>
                </c:pt>
                <c:pt idx="59">
                  <c:v>6906.5301863113764</c:v>
                </c:pt>
                <c:pt idx="60">
                  <c:v>7109.4791726113908</c:v>
                </c:pt>
                <c:pt idx="61">
                  <c:v>7311.3153925703828</c:v>
                </c:pt>
                <c:pt idx="62">
                  <c:v>7512.1806540221532</c:v>
                </c:pt>
                <c:pt idx="63">
                  <c:v>7711.7892970140019</c:v>
                </c:pt>
                <c:pt idx="64">
                  <c:v>7908.8414601342902</c:v>
                </c:pt>
                <c:pt idx="65">
                  <c:v>8103.5161819879368</c:v>
                </c:pt>
                <c:pt idx="66">
                  <c:v>8294.4674585003886</c:v>
                </c:pt>
                <c:pt idx="67">
                  <c:v>8481.1526524327164</c:v>
                </c:pt>
                <c:pt idx="68">
                  <c:v>8661.5385703678348</c:v>
                </c:pt>
                <c:pt idx="69">
                  <c:v>8835.5454934832705</c:v>
                </c:pt>
                <c:pt idx="70">
                  <c:v>9002.9890621874674</c:v>
                </c:pt>
                <c:pt idx="71">
                  <c:v>9161.1516483523137</c:v>
                </c:pt>
                <c:pt idx="72">
                  <c:v>9310.7132913458518</c:v>
                </c:pt>
                <c:pt idx="73">
                  <c:v>9451.1919071894808</c:v>
                </c:pt>
                <c:pt idx="74">
                  <c:v>9581.0814534073252</c:v>
                </c:pt>
                <c:pt idx="75">
                  <c:v>9700.0694388859683</c:v>
                </c:pt>
                <c:pt idx="76">
                  <c:v>9807.726184872894</c:v>
                </c:pt>
                <c:pt idx="77">
                  <c:v>9903.9501133799276</c:v>
                </c:pt>
                <c:pt idx="78">
                  <c:v>9986.8513187595854</c:v>
                </c:pt>
                <c:pt idx="79">
                  <c:v>10057.236771960852</c:v>
                </c:pt>
                <c:pt idx="80">
                  <c:v>10114.72246934113</c:v>
                </c:pt>
                <c:pt idx="81">
                  <c:v>10158.247083233073</c:v>
                </c:pt>
                <c:pt idx="82">
                  <c:v>10187.686256884106</c:v>
                </c:pt>
                <c:pt idx="83">
                  <c:v>10204.017835551913</c:v>
                </c:pt>
                <c:pt idx="84">
                  <c:v>10206.638131698186</c:v>
                </c:pt>
                <c:pt idx="85">
                  <c:v>10194.579248587941</c:v>
                </c:pt>
                <c:pt idx="86">
                  <c:v>10169.884223290057</c:v>
                </c:pt>
                <c:pt idx="87">
                  <c:v>10132.096963673484</c:v>
                </c:pt>
                <c:pt idx="88">
                  <c:v>10079.137980044041</c:v>
                </c:pt>
                <c:pt idx="89">
                  <c:v>10013.939924979448</c:v>
                </c:pt>
                <c:pt idx="90">
                  <c:v>9936.6889466502089</c:v>
                </c:pt>
                <c:pt idx="91">
                  <c:v>9847.0688784891026</c:v>
                </c:pt>
                <c:pt idx="92">
                  <c:v>9744.1194406107588</c:v>
                </c:pt>
                <c:pt idx="93">
                  <c:v>9629.7096549604648</c:v>
                </c:pt>
                <c:pt idx="94">
                  <c:v>9504.7837788229681</c:v>
                </c:pt>
                <c:pt idx="95">
                  <c:v>9369.40036948733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45</c:v>
                </c:pt>
                <c:pt idx="1">
                  <c:v>44</c:v>
                </c:pt>
                <c:pt idx="2">
                  <c:v>52</c:v>
                </c:pt>
                <c:pt idx="3">
                  <c:v>58</c:v>
                </c:pt>
                <c:pt idx="4">
                  <c:v>72</c:v>
                </c:pt>
                <c:pt idx="5">
                  <c:v>86</c:v>
                </c:pt>
                <c:pt idx="6">
                  <c:v>75</c:v>
                </c:pt>
                <c:pt idx="7">
                  <c:v>78</c:v>
                </c:pt>
                <c:pt idx="8">
                  <c:v>77</c:v>
                </c:pt>
                <c:pt idx="9">
                  <c:v>77</c:v>
                </c:pt>
                <c:pt idx="10">
                  <c:v>99</c:v>
                </c:pt>
                <c:pt idx="11">
                  <c:v>113</c:v>
                </c:pt>
                <c:pt idx="12">
                  <c:v>114</c:v>
                </c:pt>
                <c:pt idx="13">
                  <c:v>116</c:v>
                </c:pt>
                <c:pt idx="14">
                  <c:v>115</c:v>
                </c:pt>
                <c:pt idx="15">
                  <c:v>112</c:v>
                </c:pt>
                <c:pt idx="16">
                  <c:v>116</c:v>
                </c:pt>
                <c:pt idx="17">
                  <c:v>133</c:v>
                </c:pt>
                <c:pt idx="18">
                  <c:v>146</c:v>
                </c:pt>
                <c:pt idx="19">
                  <c:v>138</c:v>
                </c:pt>
                <c:pt idx="20">
                  <c:v>142</c:v>
                </c:pt>
                <c:pt idx="21">
                  <c:v>153</c:v>
                </c:pt>
                <c:pt idx="22">
                  <c:v>151</c:v>
                </c:pt>
                <c:pt idx="23">
                  <c:v>163</c:v>
                </c:pt>
                <c:pt idx="24">
                  <c:v>171</c:v>
                </c:pt>
                <c:pt idx="25">
                  <c:v>193</c:v>
                </c:pt>
                <c:pt idx="26">
                  <c:v>215</c:v>
                </c:pt>
                <c:pt idx="27">
                  <c:v>209</c:v>
                </c:pt>
                <c:pt idx="28">
                  <c:v>233</c:v>
                </c:pt>
                <c:pt idx="29">
                  <c:v>238</c:v>
                </c:pt>
                <c:pt idx="30">
                  <c:v>267</c:v>
                </c:pt>
                <c:pt idx="31">
                  <c:v>311</c:v>
                </c:pt>
                <c:pt idx="32">
                  <c:v>318</c:v>
                </c:pt>
                <c:pt idx="33">
                  <c:v>345</c:v>
                </c:pt>
                <c:pt idx="34">
                  <c:v>345</c:v>
                </c:pt>
                <c:pt idx="35">
                  <c:v>384</c:v>
                </c:pt>
                <c:pt idx="36">
                  <c:v>389</c:v>
                </c:pt>
                <c:pt idx="37">
                  <c:v>424</c:v>
                </c:pt>
                <c:pt idx="38">
                  <c:v>471</c:v>
                </c:pt>
                <c:pt idx="39">
                  <c:v>487</c:v>
                </c:pt>
                <c:pt idx="40">
                  <c:v>511</c:v>
                </c:pt>
                <c:pt idx="41">
                  <c:v>519</c:v>
                </c:pt>
                <c:pt idx="42">
                  <c:v>527</c:v>
                </c:pt>
                <c:pt idx="43">
                  <c:v>561</c:v>
                </c:pt>
                <c:pt idx="44">
                  <c:v>601</c:v>
                </c:pt>
                <c:pt idx="45">
                  <c:v>644</c:v>
                </c:pt>
                <c:pt idx="46">
                  <c:v>651</c:v>
                </c:pt>
                <c:pt idx="47">
                  <c:v>691</c:v>
                </c:pt>
                <c:pt idx="48">
                  <c:v>716</c:v>
                </c:pt>
                <c:pt idx="49">
                  <c:v>744</c:v>
                </c:pt>
                <c:pt idx="50">
                  <c:v>752</c:v>
                </c:pt>
                <c:pt idx="51">
                  <c:v>781</c:v>
                </c:pt>
                <c:pt idx="52">
                  <c:v>817</c:v>
                </c:pt>
                <c:pt idx="53">
                  <c:v>859</c:v>
                </c:pt>
                <c:pt idx="54">
                  <c:v>866</c:v>
                </c:pt>
                <c:pt idx="55">
                  <c:v>892</c:v>
                </c:pt>
                <c:pt idx="56">
                  <c:v>912</c:v>
                </c:pt>
                <c:pt idx="57">
                  <c:v>929</c:v>
                </c:pt>
                <c:pt idx="58">
                  <c:v>941</c:v>
                </c:pt>
                <c:pt idx="59">
                  <c:v>985</c:v>
                </c:pt>
                <c:pt idx="60">
                  <c:v>990</c:v>
                </c:pt>
                <c:pt idx="61">
                  <c:v>982</c:v>
                </c:pt>
                <c:pt idx="62">
                  <c:v>974</c:v>
                </c:pt>
                <c:pt idx="63">
                  <c:v>969</c:v>
                </c:pt>
                <c:pt idx="64">
                  <c:v>942</c:v>
                </c:pt>
                <c:pt idx="65">
                  <c:v>970</c:v>
                </c:pt>
                <c:pt idx="66">
                  <c:v>992</c:v>
                </c:pt>
                <c:pt idx="67">
                  <c:v>999</c:v>
                </c:pt>
                <c:pt idx="68">
                  <c:v>1000</c:v>
                </c:pt>
                <c:pt idx="69">
                  <c:v>1013</c:v>
                </c:pt>
                <c:pt idx="70">
                  <c:v>983</c:v>
                </c:pt>
                <c:pt idx="71">
                  <c:v>964</c:v>
                </c:pt>
                <c:pt idx="72">
                  <c:v>981</c:v>
                </c:pt>
                <c:pt idx="73">
                  <c:v>999</c:v>
                </c:pt>
                <c:pt idx="74">
                  <c:v>971</c:v>
                </c:pt>
                <c:pt idx="75">
                  <c:v>932</c:v>
                </c:pt>
                <c:pt idx="76">
                  <c:v>880</c:v>
                </c:pt>
                <c:pt idx="77">
                  <c:v>874</c:v>
                </c:pt>
                <c:pt idx="78">
                  <c:v>8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538.34653645065316</c:v>
                </c:pt>
                <c:pt idx="43">
                  <c:v>566.3775340375945</c:v>
                </c:pt>
                <c:pt idx="44">
                  <c:v>593.53728122139341</c:v>
                </c:pt>
                <c:pt idx="45">
                  <c:v>619.29628634537175</c:v>
                </c:pt>
                <c:pt idx="46">
                  <c:v>644.79770503473469</c:v>
                </c:pt>
                <c:pt idx="47">
                  <c:v>670.44258291493816</c:v>
                </c:pt>
                <c:pt idx="48">
                  <c:v>695.53842156704866</c:v>
                </c:pt>
                <c:pt idx="49">
                  <c:v>719.85190196455505</c:v>
                </c:pt>
                <c:pt idx="50">
                  <c:v>742.00043602806977</c:v>
                </c:pt>
                <c:pt idx="51">
                  <c:v>763.64898141441938</c:v>
                </c:pt>
                <c:pt idx="52">
                  <c:v>784.57780034781422</c:v>
                </c:pt>
                <c:pt idx="53">
                  <c:v>805.25814425479871</c:v>
                </c:pt>
                <c:pt idx="54">
                  <c:v>824.18597696438064</c:v>
                </c:pt>
                <c:pt idx="55">
                  <c:v>842.13561239532044</c:v>
                </c:pt>
                <c:pt idx="56">
                  <c:v>859.80376950117602</c:v>
                </c:pt>
                <c:pt idx="57">
                  <c:v>876.3469461229945</c:v>
                </c:pt>
                <c:pt idx="58">
                  <c:v>891.94882551208582</c:v>
                </c:pt>
                <c:pt idx="59">
                  <c:v>906.52036102609327</c:v>
                </c:pt>
                <c:pt idx="60">
                  <c:v>920.58325715208446</c:v>
                </c:pt>
                <c:pt idx="61">
                  <c:v>933.55536588028576</c:v>
                </c:pt>
                <c:pt idx="62">
                  <c:v>945.42822341929059</c:v>
                </c:pt>
                <c:pt idx="63">
                  <c:v>956.48680799755061</c:v>
                </c:pt>
                <c:pt idx="64">
                  <c:v>966.9125289324586</c:v>
                </c:pt>
                <c:pt idx="65">
                  <c:v>976.23302503778336</c:v>
                </c:pt>
                <c:pt idx="66">
                  <c:v>984.51664838935426</c:v>
                </c:pt>
                <c:pt idx="67">
                  <c:v>991.93928923474482</c:v>
                </c:pt>
                <c:pt idx="68">
                  <c:v>998.55810901371024</c:v>
                </c:pt>
                <c:pt idx="69">
                  <c:v>1004.3210934838614</c:v>
                </c:pt>
                <c:pt idx="70">
                  <c:v>1009.1809084903009</c:v>
                </c:pt>
                <c:pt idx="71">
                  <c:v>1013.2878832646476</c:v>
                </c:pt>
                <c:pt idx="72">
                  <c:v>1016.4748329969788</c:v>
                </c:pt>
                <c:pt idx="73">
                  <c:v>1018.758024779135</c:v>
                </c:pt>
                <c:pt idx="74">
                  <c:v>1020.0411942973701</c:v>
                </c:pt>
                <c:pt idx="75">
                  <c:v>1020.4768913088465</c:v>
                </c:pt>
                <c:pt idx="76">
                  <c:v>1020.0732762357502</c:v>
                </c:pt>
                <c:pt idx="77">
                  <c:v>1018.8275369639043</c:v>
                </c:pt>
                <c:pt idx="78">
                  <c:v>1016.7053489876226</c:v>
                </c:pt>
                <c:pt idx="79">
                  <c:v>1013.683679369954</c:v>
                </c:pt>
                <c:pt idx="80">
                  <c:v>1009.8145291756862</c:v>
                </c:pt>
                <c:pt idx="81">
                  <c:v>1005.1240476885006</c:v>
                </c:pt>
                <c:pt idx="82">
                  <c:v>999.6221568242205</c:v>
                </c:pt>
                <c:pt idx="83">
                  <c:v>993.31067810810487</c:v>
                </c:pt>
                <c:pt idx="84">
                  <c:v>986.2174100277025</c:v>
                </c:pt>
                <c:pt idx="85">
                  <c:v>978.36798305022171</c:v>
                </c:pt>
                <c:pt idx="86">
                  <c:v>969.78903810151746</c:v>
                </c:pt>
                <c:pt idx="87">
                  <c:v>960.5030380806902</c:v>
                </c:pt>
                <c:pt idx="88">
                  <c:v>950.54002594936981</c:v>
                </c:pt>
                <c:pt idx="89">
                  <c:v>939.92643156297208</c:v>
                </c:pt>
                <c:pt idx="90">
                  <c:v>928.68679284497784</c:v>
                </c:pt>
                <c:pt idx="91">
                  <c:v>916.85197503342897</c:v>
                </c:pt>
                <c:pt idx="92">
                  <c:v>904.45639301939104</c:v>
                </c:pt>
                <c:pt idx="93">
                  <c:v>891.53295792184622</c:v>
                </c:pt>
                <c:pt idx="94">
                  <c:v>878.11396244792013</c:v>
                </c:pt>
                <c:pt idx="95">
                  <c:v>864.23301392715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539.42795017618585</c:v>
                </c:pt>
                <c:pt idx="43">
                  <c:v>568.97315736335486</c:v>
                </c:pt>
                <c:pt idx="44">
                  <c:v>598.1315041085453</c:v>
                </c:pt>
                <c:pt idx="45">
                  <c:v>626.41969743022628</c:v>
                </c:pt>
                <c:pt idx="46">
                  <c:v>655.01089073764501</c:v>
                </c:pt>
                <c:pt idx="47">
                  <c:v>684.35382358599531</c:v>
                </c:pt>
                <c:pt idx="48">
                  <c:v>713.76435200672961</c:v>
                </c:pt>
                <c:pt idx="49">
                  <c:v>743.03004175543219</c:v>
                </c:pt>
                <c:pt idx="50">
                  <c:v>770.766517488506</c:v>
                </c:pt>
                <c:pt idx="51">
                  <c:v>798.64187711591785</c:v>
                </c:pt>
                <c:pt idx="52">
                  <c:v>826.42985741506754</c:v>
                </c:pt>
                <c:pt idx="53">
                  <c:v>854.58263757347913</c:v>
                </c:pt>
                <c:pt idx="54">
                  <c:v>881.58054805199367</c:v>
                </c:pt>
                <c:pt idx="55">
                  <c:v>908.16769807312016</c:v>
                </c:pt>
                <c:pt idx="56">
                  <c:v>935.01565076027282</c:v>
                </c:pt>
                <c:pt idx="57">
                  <c:v>961.24569155628285</c:v>
                </c:pt>
                <c:pt idx="58">
                  <c:v>987.00108213151634</c:v>
                </c:pt>
                <c:pt idx="59">
                  <c:v>1012.1308299236841</c:v>
                </c:pt>
                <c:pt idx="60">
                  <c:v>1037.1199403648313</c:v>
                </c:pt>
                <c:pt idx="61">
                  <c:v>1061.3245002309607</c:v>
                </c:pt>
                <c:pt idx="62">
                  <c:v>1084.6898012894042</c:v>
                </c:pt>
                <c:pt idx="63">
                  <c:v>1107.4567573587524</c:v>
                </c:pt>
                <c:pt idx="64">
                  <c:v>1129.7496142613702</c:v>
                </c:pt>
                <c:pt idx="65">
                  <c:v>1151.0393588208663</c:v>
                </c:pt>
                <c:pt idx="66">
                  <c:v>1171.3422472676352</c:v>
                </c:pt>
                <c:pt idx="67">
                  <c:v>1190.7882001243631</c:v>
                </c:pt>
                <c:pt idx="68">
                  <c:v>1209.3825298062034</c:v>
                </c:pt>
                <c:pt idx="69">
                  <c:v>1227.0219736038248</c:v>
                </c:pt>
                <c:pt idx="70">
                  <c:v>1243.6064356066204</c:v>
                </c:pt>
                <c:pt idx="71">
                  <c:v>1259.2345301756518</c:v>
                </c:pt>
                <c:pt idx="72">
                  <c:v>1273.6862264634728</c:v>
                </c:pt>
                <c:pt idx="73">
                  <c:v>1286.9321870926633</c:v>
                </c:pt>
                <c:pt idx="74">
                  <c:v>1298.8300724689871</c:v>
                </c:pt>
                <c:pt idx="75">
                  <c:v>1309.4916527318251</c:v>
                </c:pt>
                <c:pt idx="76">
                  <c:v>1318.8845836412895</c:v>
                </c:pt>
                <c:pt idx="77">
                  <c:v>1326.9681222485583</c:v>
                </c:pt>
                <c:pt idx="78">
                  <c:v>1333.6690666647505</c:v>
                </c:pt>
                <c:pt idx="79">
                  <c:v>1338.930546977155</c:v>
                </c:pt>
                <c:pt idx="80">
                  <c:v>1342.7774565222339</c:v>
                </c:pt>
                <c:pt idx="81">
                  <c:v>1345.2098877066833</c:v>
                </c:pt>
                <c:pt idx="82">
                  <c:v>1346.2151346762907</c:v>
                </c:pt>
                <c:pt idx="83">
                  <c:v>1345.7758817215599</c:v>
                </c:pt>
                <c:pt idx="84">
                  <c:v>1343.904277604388</c:v>
                </c:pt>
                <c:pt idx="85">
                  <c:v>1340.613916579005</c:v>
                </c:pt>
                <c:pt idx="86">
                  <c:v>1335.9229836655982</c:v>
                </c:pt>
                <c:pt idx="87">
                  <c:v>1329.8490735910939</c:v>
                </c:pt>
                <c:pt idx="88">
                  <c:v>1322.4208701280554</c:v>
                </c:pt>
                <c:pt idx="89">
                  <c:v>1313.6668531908967</c:v>
                </c:pt>
                <c:pt idx="90">
                  <c:v>1303.6168668083906</c:v>
                </c:pt>
                <c:pt idx="91">
                  <c:v>1292.3102075588404</c:v>
                </c:pt>
                <c:pt idx="92">
                  <c:v>1279.7927303310021</c:v>
                </c:pt>
                <c:pt idx="93">
                  <c:v>1266.1116307990249</c:v>
                </c:pt>
                <c:pt idx="94">
                  <c:v>1251.3161224681357</c:v>
                </c:pt>
                <c:pt idx="95">
                  <c:v>1235.45907548037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540.51549826427538</c:v>
                </c:pt>
                <c:pt idx="43">
                  <c:v>571.5910858627758</c:v>
                </c:pt>
                <c:pt idx="44">
                  <c:v>602.78128618527444</c:v>
                </c:pt>
                <c:pt idx="45">
                  <c:v>633.65767568492367</c:v>
                </c:pt>
                <c:pt idx="46">
                  <c:v>665.43341592890374</c:v>
                </c:pt>
                <c:pt idx="47">
                  <c:v>698.61618345308102</c:v>
                </c:pt>
                <c:pt idx="48">
                  <c:v>732.54225933768271</c:v>
                </c:pt>
                <c:pt idx="49">
                  <c:v>767.03291820809523</c:v>
                </c:pt>
                <c:pt idx="50">
                  <c:v>800.71516712438824</c:v>
                </c:pt>
                <c:pt idx="51">
                  <c:v>835.27358124687066</c:v>
                </c:pt>
                <c:pt idx="52">
                  <c:v>870.48853065666231</c:v>
                </c:pt>
                <c:pt idx="53">
                  <c:v>906.80570036789447</c:v>
                </c:pt>
                <c:pt idx="54">
                  <c:v>942.70150185963507</c:v>
                </c:pt>
                <c:pt idx="55">
                  <c:v>978.9003239243392</c:v>
                </c:pt>
                <c:pt idx="56">
                  <c:v>1016.0577294254427</c:v>
                </c:pt>
                <c:pt idx="57">
                  <c:v>1053.2672304785012</c:v>
                </c:pt>
                <c:pt idx="58">
                  <c:v>1090.637222738329</c:v>
                </c:pt>
                <c:pt idx="59">
                  <c:v>1127.9581155742762</c:v>
                </c:pt>
                <c:pt idx="60">
                  <c:v>1165.6791847393633</c:v>
                </c:pt>
                <c:pt idx="61">
                  <c:v>1203.0930349235341</c:v>
                </c:pt>
                <c:pt idx="62">
                  <c:v>1240.0942579410014</c:v>
                </c:pt>
                <c:pt idx="63">
                  <c:v>1276.8724773822505</c:v>
                </c:pt>
                <c:pt idx="64">
                  <c:v>1313.4847162796664</c:v>
                </c:pt>
                <c:pt idx="65">
                  <c:v>1349.3326589612561</c:v>
                </c:pt>
                <c:pt idx="66">
                  <c:v>1384.3653204047293</c:v>
                </c:pt>
                <c:pt idx="67">
                  <c:v>1418.648935416436</c:v>
                </c:pt>
                <c:pt idx="68">
                  <c:v>1452.1168655310275</c:v>
                </c:pt>
                <c:pt idx="69">
                  <c:v>1484.5923372331545</c:v>
                </c:pt>
                <c:pt idx="70">
                  <c:v>1515.8983249539224</c:v>
                </c:pt>
                <c:pt idx="71">
                  <c:v>1546.0559322987924</c:v>
                </c:pt>
                <c:pt idx="72">
                  <c:v>1574.7652533883713</c:v>
                </c:pt>
                <c:pt idx="73">
                  <c:v>1601.9234507262049</c:v>
                </c:pt>
                <c:pt idx="74">
                  <c:v>1627.313656451023</c:v>
                </c:pt>
                <c:pt idx="75">
                  <c:v>1650.9782259636629</c:v>
                </c:pt>
                <c:pt idx="76">
                  <c:v>1672.8158770640275</c:v>
                </c:pt>
                <c:pt idx="77">
                  <c:v>1692.7200867042798</c:v>
                </c:pt>
                <c:pt idx="78">
                  <c:v>1710.5518765775907</c:v>
                </c:pt>
                <c:pt idx="79">
                  <c:v>1726.1949688739619</c:v>
                </c:pt>
                <c:pt idx="80">
                  <c:v>1739.6232706404064</c:v>
                </c:pt>
                <c:pt idx="81">
                  <c:v>1750.7889331175338</c:v>
                </c:pt>
                <c:pt idx="82">
                  <c:v>1759.6370090297041</c:v>
                </c:pt>
                <c:pt idx="83">
                  <c:v>1766.1139568243143</c:v>
                </c:pt>
                <c:pt idx="84">
                  <c:v>1770.2019250764154</c:v>
                </c:pt>
                <c:pt idx="85">
                  <c:v>1771.8910267806193</c:v>
                </c:pt>
                <c:pt idx="86">
                  <c:v>1771.1825775644397</c:v>
                </c:pt>
                <c:pt idx="87">
                  <c:v>1768.0840056424856</c:v>
                </c:pt>
                <c:pt idx="88">
                  <c:v>1762.6204862582392</c:v>
                </c:pt>
                <c:pt idx="89">
                  <c:v>1754.823532372196</c:v>
                </c:pt>
                <c:pt idx="90">
                  <c:v>1744.7323500935113</c:v>
                </c:pt>
                <c:pt idx="91">
                  <c:v>1732.4017006102067</c:v>
                </c:pt>
                <c:pt idx="92">
                  <c:v>1717.8987505964114</c:v>
                </c:pt>
                <c:pt idx="93">
                  <c:v>1701.2975179488428</c:v>
                </c:pt>
                <c:pt idx="94">
                  <c:v>1682.6791354108339</c:v>
                </c:pt>
                <c:pt idx="95">
                  <c:v>1662.13305359800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936137" y="0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E88527-8C78-4670-A74D-468E88FB2658}" type="datetimeFigureOut">
              <a:rPr lang="cs-CZ" smtClean="0"/>
              <a:t>22.12.2021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1" y="8772414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936137" y="8772414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5D0693-75AC-4F46-BBF1-1CD96A6AD73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046474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936767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22.12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704850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936767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BFCB68-01F3-4028-943D-0453D67E25ED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7419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75059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45150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45485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Relationship Id="rId6" Type="http://schemas.openxmlformats.org/officeDocument/2006/relationships/image" Target="NULL"/><Relationship Id="rId5" Type="http://schemas.openxmlformats.org/officeDocument/2006/relationships/image" Target="../media/image3.png"/><Relationship Id="rId4" Type="http://schemas.openxmlformats.org/officeDocument/2006/relationships/image" Target="NUL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6" Type="http://schemas.openxmlformats.org/officeDocument/2006/relationships/image" Target="NULL"/><Relationship Id="rId5" Type="http://schemas.openxmlformats.org/officeDocument/2006/relationships/image" Target="../media/image6.png"/><Relationship Id="rId4" Type="http://schemas.openxmlformats.org/officeDocument/2006/relationships/image" Target="NUL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6" Type="http://schemas.openxmlformats.org/officeDocument/2006/relationships/image" Target="NULL"/><Relationship Id="rId5" Type="http://schemas.openxmlformats.org/officeDocument/2006/relationships/image" Target="../media/image6.png"/><Relationship Id="rId4" Type="http://schemas.openxmlformats.org/officeDocument/2006/relationships/image" Target="NUL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Relationship Id="rId6" Type="http://schemas.openxmlformats.org/officeDocument/2006/relationships/image" Target="NULL"/><Relationship Id="rId5" Type="http://schemas.openxmlformats.org/officeDocument/2006/relationships/image" Target="../media/image3.png"/><Relationship Id="rId4" Type="http://schemas.openxmlformats.org/officeDocument/2006/relationships/image" Target="NUL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Relationship Id="rId6" Type="http://schemas.openxmlformats.org/officeDocument/2006/relationships/image" Target="NULL"/><Relationship Id="rId5" Type="http://schemas.openxmlformats.org/officeDocument/2006/relationships/image" Target="../media/image3.png"/><Relationship Id="rId4" Type="http://schemas.openxmlformats.org/officeDocument/2006/relationships/image" Target="NUL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Relationship Id="rId6" Type="http://schemas.openxmlformats.org/officeDocument/2006/relationships/image" Target="NULL"/><Relationship Id="rId5" Type="http://schemas.openxmlformats.org/officeDocument/2006/relationships/image" Target="../media/image3.png"/><Relationship Id="rId4" Type="http://schemas.openxmlformats.org/officeDocument/2006/relationships/image" Target="NUL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Relationship Id="rId6" Type="http://schemas.openxmlformats.org/officeDocument/2006/relationships/image" Target="NULL"/><Relationship Id="rId5" Type="http://schemas.openxmlformats.org/officeDocument/2006/relationships/image" Target="../media/image6.png"/><Relationship Id="rId4" Type="http://schemas.openxmlformats.org/officeDocument/2006/relationships/image" Target="NUL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Relationship Id="rId6" Type="http://schemas.openxmlformats.org/officeDocument/2006/relationships/image" Target="NULL"/><Relationship Id="rId5" Type="http://schemas.openxmlformats.org/officeDocument/2006/relationships/image" Target="../media/image6.png"/><Relationship Id="rId4" Type="http://schemas.openxmlformats.org/officeDocument/2006/relationships/image" Target="NUL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Relationship Id="rId6" Type="http://schemas.openxmlformats.org/officeDocument/2006/relationships/image" Target="NULL"/><Relationship Id="rId5" Type="http://schemas.openxmlformats.org/officeDocument/2006/relationships/image" Target="../media/image3.png"/><Relationship Id="rId4" Type="http://schemas.openxmlformats.org/officeDocument/2006/relationships/image" Target="NUL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Relationship Id="rId6" Type="http://schemas.openxmlformats.org/officeDocument/2006/relationships/image" Target="NULL"/><Relationship Id="rId5" Type="http://schemas.openxmlformats.org/officeDocument/2006/relationships/image" Target="../media/image3.png"/><Relationship Id="rId4" Type="http://schemas.openxmlformats.org/officeDocument/2006/relationships/image" Target="NUL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538340"/>
            <a:ext cx="10375900" cy="4568394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4418"/>
            <a:ext cx="432000" cy="43358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Nadpis 1"/>
          <p:cNvSpPr>
            <a:spLocks noGrp="1"/>
          </p:cNvSpPr>
          <p:nvPr>
            <p:ph type="title"/>
          </p:nvPr>
        </p:nvSpPr>
        <p:spPr>
          <a:xfrm>
            <a:off x="838201" y="165100"/>
            <a:ext cx="8001000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cxnSp>
        <p:nvCxnSpPr>
          <p:cNvPr id="13" name="Přímá spojnice 12"/>
          <p:cNvCxnSpPr/>
          <p:nvPr userDrawn="1"/>
        </p:nvCxnSpPr>
        <p:spPr>
          <a:xfrm flipV="1">
            <a:off x="0" y="1085179"/>
            <a:ext cx="12192000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bdélník 7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2" name="Obrázek 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30052" y="97662"/>
            <a:ext cx="2661948" cy="91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735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/>
          <p:cNvSpPr/>
          <p:nvPr userDrawn="1"/>
        </p:nvSpPr>
        <p:spPr>
          <a:xfrm>
            <a:off x="8127997" y="0"/>
            <a:ext cx="4064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Obdélník 11"/>
          <p:cNvSpPr/>
          <p:nvPr userDrawn="1"/>
        </p:nvSpPr>
        <p:spPr>
          <a:xfrm>
            <a:off x="8127997" y="4673599"/>
            <a:ext cx="4064003" cy="2184401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539003" y="1135062"/>
            <a:ext cx="3241991" cy="1757362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32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pPr lvl="0" algn="ctr"/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1921" y="644672"/>
            <a:ext cx="6483982" cy="5654528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2400" dirty="0" smtClean="0"/>
            </a:lvl1pPr>
          </a:lstStyle>
          <a:p>
            <a:pPr marL="0" lvl="0" indent="0" algn="ctr">
              <a:buNone/>
            </a:pPr>
            <a:r>
              <a:rPr lang="cs-CZ" dirty="0"/>
              <a:t>Kliknutím lze upravit styly předlohy textu.</a:t>
            </a: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10369" y="5986922"/>
            <a:ext cx="2430126" cy="852293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9" name="Přímá spojnice 8"/>
          <p:cNvCxnSpPr/>
          <p:nvPr userDrawn="1"/>
        </p:nvCxnSpPr>
        <p:spPr>
          <a:xfrm flipV="1">
            <a:off x="8128000" y="0"/>
            <a:ext cx="0" cy="685800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Skupina 15"/>
          <p:cNvGrpSpPr/>
          <p:nvPr userDrawn="1"/>
        </p:nvGrpSpPr>
        <p:grpSpPr>
          <a:xfrm>
            <a:off x="9167650" y="3681252"/>
            <a:ext cx="1984694" cy="1984694"/>
            <a:chOff x="-4198256" y="-1833664"/>
            <a:chExt cx="6858000" cy="6858000"/>
          </a:xfrm>
        </p:grpSpPr>
        <p:sp>
          <p:nvSpPr>
            <p:cNvPr id="17" name="Ovál 16"/>
            <p:cNvSpPr/>
            <p:nvPr/>
          </p:nvSpPr>
          <p:spPr>
            <a:xfrm>
              <a:off x="-3308310" y="-943718"/>
              <a:ext cx="5049080" cy="504908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8" name="Obrázek 1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198256" y="-1833664"/>
              <a:ext cx="6858000" cy="685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144558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Obdélník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 userDrawn="1"/>
        </p:nvSpPr>
        <p:spPr>
          <a:xfrm>
            <a:off x="1511300" y="6244853"/>
            <a:ext cx="10680700" cy="613147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244853"/>
            <a:ext cx="1778000" cy="613147"/>
          </a:xfrm>
          <a:prstGeom prst="rect">
            <a:avLst/>
          </a:prstGeom>
        </p:spPr>
      </p:pic>
      <p:grpSp>
        <p:nvGrpSpPr>
          <p:cNvPr id="3" name="Skupina 2"/>
          <p:cNvGrpSpPr/>
          <p:nvPr userDrawn="1"/>
        </p:nvGrpSpPr>
        <p:grpSpPr>
          <a:xfrm>
            <a:off x="11023600" y="5681975"/>
            <a:ext cx="1041400" cy="1074956"/>
            <a:chOff x="10733618" y="5437836"/>
            <a:chExt cx="1375832" cy="1420164"/>
          </a:xfrm>
        </p:grpSpPr>
        <p:sp>
          <p:nvSpPr>
            <p:cNvPr id="8" name="Ovál 7"/>
            <p:cNvSpPr/>
            <p:nvPr userDrawn="1"/>
          </p:nvSpPr>
          <p:spPr>
            <a:xfrm>
              <a:off x="10974122" y="5757656"/>
              <a:ext cx="894824" cy="894824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0" name="Obrázek 9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733618" y="5437836"/>
              <a:ext cx="1375832" cy="14201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82659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20521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/>
          <p:cNvSpPr/>
          <p:nvPr userDrawn="1"/>
        </p:nvSpPr>
        <p:spPr>
          <a:xfrm rot="10800000">
            <a:off x="0" y="-1"/>
            <a:ext cx="12192000" cy="6858000"/>
          </a:xfrm>
          <a:prstGeom prst="rect">
            <a:avLst/>
          </a:prstGeom>
          <a:gradFill flip="none" rotWithShape="1">
            <a:gsLst>
              <a:gs pos="6000">
                <a:schemeClr val="tx1">
                  <a:lumMod val="65000"/>
                  <a:lumOff val="35000"/>
                </a:schemeClr>
              </a:gs>
              <a:gs pos="27000">
                <a:schemeClr val="tx1">
                  <a:lumMod val="85000"/>
                  <a:lumOff val="15000"/>
                </a:schemeClr>
              </a:gs>
              <a:gs pos="63000">
                <a:srgbClr val="000000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" name="Obrázek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194424"/>
            <a:ext cx="2654300" cy="663576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600" y="2249716"/>
            <a:ext cx="2336800" cy="2336800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Obdélník 1"/>
          <p:cNvSpPr/>
          <p:nvPr userDrawn="1"/>
        </p:nvSpPr>
        <p:spPr>
          <a:xfrm>
            <a:off x="4221769" y="4683938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8581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837149-65B5-40C0-A148-5C0780A20B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F4BE70A-7F29-4223-A3CA-61E551FDDC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652B65-704D-45EB-9963-4141CB9053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2A396D-ED3C-40A7-A84A-FA6B1A083A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2B84A6-BF36-4830-9DEB-D538717EC5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93639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40312C-16C5-4EC5-BFB5-CC5C632C0B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29715A-0CFC-4C2E-9068-7DF48BB7AE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F4618D-F07C-4AA8-B8B3-F2AB8B22C4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A87515-7F99-4E50-8332-483C5E8B4B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D35ACF-FB41-49E3-92DE-4820036A1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374695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262F51-B53B-457A-A6AF-28D267CF30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FE44A6-E02C-4130-9FDD-3C159AA625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BAF497-906E-4C9E-89F1-966198E1FE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F1F17D-B3E7-445C-8A01-FD1EF60A0A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DFA466-2841-42D8-BCE2-B1B5CDEDD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261523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988A46-C80B-4BB2-A239-0C10C8454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87DB0E-EFEB-4E51-A2C8-81905B8A6F1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E6D96F-ABEB-4929-A377-663E4B1222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1F07FB-D56E-4E33-A81C-905BD0C4C8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83F511-1976-4B8E-98FC-0395B51EC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DFDC02-60AB-4F63-9D6E-DB9D0B5123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30140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28EAFA-0B56-4B9F-9CCC-4C485BCFE0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BE7AC3-0A1D-431D-A6D2-6746C564A5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8A6C4D-35C7-4157-9F39-8B684B0EA45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C5FE6C-9A5C-4C77-AB2B-9D56959A619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A0EE7EE-79CB-4CD9-A2A6-4E1745ECA8F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94F10D9-D330-4D79-838E-8A2FB338CB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D5BC18B-9753-47A0-A6DE-E4F8F59830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C104369-AB2C-4D6F-BB1F-DCBF27C19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52867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62A295-0C6A-400D-AC20-90ED7D6D3C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9328C9-4230-49B1-96AE-6828B2D034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B4D6FA-768F-46ED-8EE5-68EEDA8A75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F19649-51CA-447C-92C7-139673C3D6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068269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2D5272-8A1F-47C9-9F72-D750D6193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C24208-EDF0-4AC7-918C-14DBF5269F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FBB15F-958A-489F-8D5E-AE51FF0EB7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46204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FF7104-5F5A-48BF-8F1C-2512FC482B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9FF1B-98C2-4B86-BE1B-CFEB2105E4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1FFF5D-6844-436F-9EB9-03D03EBA20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C631352-6286-4234-9179-CEE9E16BA7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74CF46-A376-42E1-B58C-3FEB8407D3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2730FE8-8F9C-472D-9441-975DA03844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7511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C9CEBF-587F-4FCA-B912-52AA74777D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5089BE9-E83A-4915-8B58-49579A23ED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490D4A-B1EB-4E0F-B046-C794409110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43ADA9-083B-49AA-8D2C-520EE4F55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4DF203-BE4D-4FBA-9511-DD6B7EB356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A07A47-AF88-4D6C-B7A4-47B4424D7C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44036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3E19C-275D-4815-B111-B9E627F646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F5D1869-CF2C-4605-A2D0-B2FF1A0F3BF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EE69E2-43F9-4A68-9572-EE80CBA787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AF432D-DBB6-4517-89F4-5AE668AB7B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A92ABC-732F-4E6E-8072-74D75700D7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177768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25BEF72-EF5B-47ED-B1AF-0C552ABB05F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C9AFF00-5600-43A1-96D3-EFB6CE5BB2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ECF071-93D5-4021-AB20-65709FAA15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67CEB7-1EA9-4F8B-88BD-B5DF11E7D1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5EC400-B874-46D9-8A2B-A5C433195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044464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75261997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44128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242334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227470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979006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142488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60455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23258985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02422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45131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5413311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5326464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379776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12000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41640545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8323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2189213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Obrázek 3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Obdélník 2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  <a:alpha val="90000"/>
                </a:schemeClr>
              </a:gs>
              <a:gs pos="83000">
                <a:schemeClr val="accent3">
                  <a:lumMod val="45000"/>
                  <a:lumOff val="55000"/>
                  <a:alpha val="90000"/>
                </a:schemeClr>
              </a:gs>
              <a:gs pos="100000">
                <a:schemeClr val="accent3">
                  <a:lumMod val="30000"/>
                  <a:lumOff val="70000"/>
                  <a:alpha val="90000"/>
                </a:schemeClr>
              </a:gs>
            </a:gsLst>
            <a:lin ang="15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364343" y="3700284"/>
            <a:ext cx="9144000" cy="1315225"/>
          </a:xfrm>
        </p:spPr>
        <p:txBody>
          <a:bodyPr anchor="b">
            <a:normAutofit/>
          </a:bodyPr>
          <a:lstStyle>
            <a:lvl1pPr algn="ctr">
              <a:defRPr sz="44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64341" y="5107060"/>
            <a:ext cx="9144000" cy="99882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lze upravit styl předlohy.</a:t>
            </a:r>
          </a:p>
        </p:txBody>
      </p:sp>
      <p:cxnSp>
        <p:nvCxnSpPr>
          <p:cNvPr id="7" name="Přímá spojnice 6"/>
          <p:cNvCxnSpPr/>
          <p:nvPr userDrawn="1"/>
        </p:nvCxnSpPr>
        <p:spPr>
          <a:xfrm>
            <a:off x="20409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10220324" y="0"/>
            <a:ext cx="1971675" cy="365125"/>
          </a:xfrm>
          <a:noFill/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22" name="Přímá spojnice 21"/>
          <p:cNvCxnSpPr/>
          <p:nvPr userDrawn="1"/>
        </p:nvCxnSpPr>
        <p:spPr>
          <a:xfrm>
            <a:off x="7264966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Obrázek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3653" y="1319035"/>
            <a:ext cx="1984694" cy="1984694"/>
          </a:xfrm>
          <a:prstGeom prst="rect">
            <a:avLst/>
          </a:prstGeom>
        </p:spPr>
      </p:pic>
      <p:sp>
        <p:nvSpPr>
          <p:cNvPr id="6" name="Kosoúhelník 5"/>
          <p:cNvSpPr/>
          <p:nvPr userDrawn="1"/>
        </p:nvSpPr>
        <p:spPr>
          <a:xfrm rot="10800000">
            <a:off x="1503900" y="-12894"/>
            <a:ext cx="2438400" cy="900000"/>
          </a:xfrm>
          <a:prstGeom prst="parallelogram">
            <a:avLst>
              <a:gd name="adj" fmla="val 86251"/>
            </a:avLst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667" y="-12894"/>
            <a:ext cx="2801962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8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165100"/>
            <a:ext cx="9379857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755396"/>
            <a:ext cx="10375900" cy="4351338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cxnSp>
        <p:nvCxnSpPr>
          <p:cNvPr id="8" name="Přímá spojnice 7"/>
          <p:cNvCxnSpPr/>
          <p:nvPr userDrawn="1"/>
        </p:nvCxnSpPr>
        <p:spPr>
          <a:xfrm flipV="1">
            <a:off x="0" y="1085178"/>
            <a:ext cx="10218057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2" name="Přímá spojnice 11"/>
          <p:cNvCxnSpPr/>
          <p:nvPr userDrawn="1"/>
        </p:nvCxnSpPr>
        <p:spPr>
          <a:xfrm>
            <a:off x="11826903" y="1085177"/>
            <a:ext cx="365097" cy="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9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15" name="Obrázek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781" y="414958"/>
            <a:ext cx="1340438" cy="1340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706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5" Type="http://schemas.openxmlformats.org/officeDocument/2006/relationships/slideLayout" Target="../slideLayouts/slideLayout31.xml"/><Relationship Id="rId4" Type="http://schemas.openxmlformats.org/officeDocument/2006/relationships/slideLayout" Target="../slideLayouts/slideLayout3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61" r:id="rId4"/>
    <p:sldLayoutId id="2147483658" r:id="rId5"/>
    <p:sldLayoutId id="2147483662" r:id="rId6"/>
    <p:sldLayoutId id="2147483760" r:id="rId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320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D364EC2-A2EC-4DE5-85B7-53077A78BE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A035FA-16EA-48E9-A4CF-24D03D0A85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058C2A-3294-4D93-B6D3-CD4C09A39B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B6E0E2-ED72-462D-A571-FDF80829AF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AE22D9-ED75-49B2-874D-6B9FC81E11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66223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  <p:sldLayoutId id="214748377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715636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  <p:sldLayoutId id="2147483779" r:id="rId5"/>
    <p:sldLayoutId id="2147483780" r:id="rId6"/>
    <p:sldLayoutId id="2147483781" r:id="rId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786442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787" r:id="rId5"/>
    <p:sldLayoutId id="2147483788" r:id="rId6"/>
    <p:sldLayoutId id="2147483789" r:id="rId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chart" Target="../charts/chart3.xml"/><Relationship Id="rId4" Type="http://schemas.openxmlformats.org/officeDocument/2006/relationships/slideLayout" Target="../slideLayouts/slideLayout2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chart" Target="../charts/chart4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slideLayout" Target="../slideLayouts/slideLayout26.xml"/><Relationship Id="rId5" Type="http://schemas.openxmlformats.org/officeDocument/2006/relationships/tags" Target="../tags/tag14.xml"/><Relationship Id="rId10" Type="http://schemas.openxmlformats.org/officeDocument/2006/relationships/tags" Target="../tags/tag19.xml"/><Relationship Id="rId4" Type="http://schemas.openxmlformats.org/officeDocument/2006/relationships/tags" Target="../tags/tag13.xml"/><Relationship Id="rId9" Type="http://schemas.openxmlformats.org/officeDocument/2006/relationships/tags" Target="../tags/tag18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12" Type="http://schemas.openxmlformats.org/officeDocument/2006/relationships/chart" Target="../charts/chart5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11" Type="http://schemas.openxmlformats.org/officeDocument/2006/relationships/slideLayout" Target="../slideLayouts/slideLayout26.xml"/><Relationship Id="rId5" Type="http://schemas.openxmlformats.org/officeDocument/2006/relationships/tags" Target="../tags/tag24.xml"/><Relationship Id="rId10" Type="http://schemas.openxmlformats.org/officeDocument/2006/relationships/tags" Target="../tags/tag29.xml"/><Relationship Id="rId4" Type="http://schemas.openxmlformats.org/officeDocument/2006/relationships/tags" Target="../tags/tag23.xml"/><Relationship Id="rId9" Type="http://schemas.openxmlformats.org/officeDocument/2006/relationships/tags" Target="../tags/tag2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chart" Target="../charts/chart1.xml"/><Relationship Id="rId4" Type="http://schemas.openxmlformats.org/officeDocument/2006/relationships/slideLayout" Target="../slideLayouts/slideLayout2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chart" Target="../charts/chart2.xml"/><Relationship Id="rId4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4294967295"/>
          </p:nvPr>
        </p:nvSpPr>
        <p:spPr>
          <a:xfrm>
            <a:off x="11771313" y="6443663"/>
            <a:ext cx="42068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Nadpis 1"/>
          <p:cNvSpPr>
            <a:spLocks noGrp="1"/>
          </p:cNvSpPr>
          <p:nvPr>
            <p:ph type="ctrTitle"/>
          </p:nvPr>
        </p:nvSpPr>
        <p:spPr>
          <a:xfrm>
            <a:off x="1368547" y="3690851"/>
            <a:ext cx="9842263" cy="1829090"/>
          </a:xfrm>
        </p:spPr>
        <p:txBody>
          <a:bodyPr>
            <a:normAutofit fontScale="90000"/>
          </a:bodyPr>
          <a:lstStyle/>
          <a:p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erační briefing ICŘT </a:t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i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árodní dispečink lůžkové péče</a:t>
            </a: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cs-CZ" b="1" i="1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Podnadpis 2"/>
          <p:cNvSpPr>
            <a:spLocks noGrp="1"/>
          </p:cNvSpPr>
          <p:nvPr>
            <p:ph type="subTitle" idx="1"/>
          </p:nvPr>
        </p:nvSpPr>
        <p:spPr>
          <a:xfrm>
            <a:off x="1659489" y="6344687"/>
            <a:ext cx="9144000" cy="513313"/>
          </a:xfrm>
        </p:spPr>
        <p:txBody>
          <a:bodyPr>
            <a:normAutofit/>
          </a:bodyPr>
          <a:lstStyle/>
          <a:p>
            <a:r>
              <a:rPr lang="cs-CZ" b="1" smtClean="0"/>
              <a:t>22. </a:t>
            </a:r>
            <a:r>
              <a:rPr lang="cs-CZ" b="1" dirty="0" smtClean="0"/>
              <a:t>prosince 2021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138472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</a:t>
            </a:r>
            <a:r>
              <a:rPr lang="cs-CZ" dirty="0"/>
              <a:t>UPV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47237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UPV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" name="TextovéPole 4"/>
          <p:cNvSpPr txBox="1"/>
          <p:nvPr/>
        </p:nvSpPr>
        <p:spPr>
          <a:xfrm>
            <a:off x="9009114" y="5091561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Údaje jsou aktuální k 19.12.2021 0:28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717437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/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graphicFrame>
        <p:nvGraphicFramePr>
          <p:cNvPr id="27" name="Tabulka 6">
            <a:extLst>
              <a:ext uri="{FF2B5EF4-FFF2-40B4-BE49-F238E27FC236}">
                <a16:creationId xmlns:a16="http://schemas.microsoft.com/office/drawing/2014/main" id="{7A7640AA-13B5-451C-AEF6-2B181EB7D032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275570" y="1059502"/>
          <a:ext cx="5832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 47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06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30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09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 24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 80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2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 24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 99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2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 40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 36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1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 24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0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 34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9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6 365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8D56B7B0-37BD-4AA9-8F59-CBA3F8B0CB41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479685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E876DBC7-988F-44BE-AD05-9B150284BBDB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1" name="Skupina 20">
              <a:extLst>
                <a:ext uri="{FF2B5EF4-FFF2-40B4-BE49-F238E27FC236}">
                  <a16:creationId xmlns:a16="http://schemas.microsoft.com/office/drawing/2014/main" id="{09245847-46EF-424D-AB8A-6EE135F24846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25BA30A9-728F-4407-8B52-0A716F7F664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3" name="Přímá spojnice 32">
                <a:extLst>
                  <a:ext uri="{FF2B5EF4-FFF2-40B4-BE49-F238E27FC236}">
                    <a16:creationId xmlns:a16="http://schemas.microsoft.com/office/drawing/2014/main" id="{CEC84D62-881C-4471-9C69-71F14E68F37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7" name="Obdélník 36">
                <a:extLst>
                  <a:ext uri="{FF2B5EF4-FFF2-40B4-BE49-F238E27FC236}">
                    <a16:creationId xmlns:a16="http://schemas.microsoft.com/office/drawing/2014/main" id="{F80D990D-FF88-4FC5-8A0B-C137D6E84E93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5C418FF4-F987-4FE3-BB5C-594BE788F689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lang="cs-CZ" sz="1200" kern="0" dirty="0">
                    <a:solidFill>
                      <a:srgbClr val="000000"/>
                    </a:solidFill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horní hranice predikce </a:t>
                </a: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třední hodnoty predikce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podní hranice predikce </a:t>
                </a: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B49DD718-7D02-450E-828C-6AE0A49363B0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28" name="TextovéPole 27"/>
          <p:cNvSpPr txBox="1"/>
          <p:nvPr/>
        </p:nvSpPr>
        <p:spPr>
          <a:xfrm>
            <a:off x="9803538" y="5840098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Údaje jsou aktuální k 19.12.2021 0:28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18154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/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09959111-8EBE-46FA-A0A1-1F84F67EEDA7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6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6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8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77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53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5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0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2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0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81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9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4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8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5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8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1 079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5949C18A-7678-4D15-8F6A-EFB24C10C33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479685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CAC9764C-1726-4F19-AB7E-2336D49CB3DD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1" name="Skupina 20">
              <a:extLst>
                <a:ext uri="{FF2B5EF4-FFF2-40B4-BE49-F238E27FC236}">
                  <a16:creationId xmlns:a16="http://schemas.microsoft.com/office/drawing/2014/main" id="{29BF8DA5-D892-4FF6-B6E9-9956F758C13B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8" name="Přímá spojnice 27">
                <a:extLst>
                  <a:ext uri="{FF2B5EF4-FFF2-40B4-BE49-F238E27FC236}">
                    <a16:creationId xmlns:a16="http://schemas.microsoft.com/office/drawing/2014/main" id="{BE806961-B0B3-412C-BDBD-7D03137D724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9" name="Přímá spojnice 28">
                <a:extLst>
                  <a:ext uri="{FF2B5EF4-FFF2-40B4-BE49-F238E27FC236}">
                    <a16:creationId xmlns:a16="http://schemas.microsoft.com/office/drawing/2014/main" id="{CDA9AEA0-5D67-46A9-AF38-A846F117A54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0" name="Obdélník 29">
                <a:extLst>
                  <a:ext uri="{FF2B5EF4-FFF2-40B4-BE49-F238E27FC236}">
                    <a16:creationId xmlns:a16="http://schemas.microsoft.com/office/drawing/2014/main" id="{A30B6C2C-560A-4CEE-A08B-40B4FF6BBDDC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1" name="TextovéPole 28">
                <a:extLst>
                  <a:ext uri="{FF2B5EF4-FFF2-40B4-BE49-F238E27FC236}">
                    <a16:creationId xmlns:a16="http://schemas.microsoft.com/office/drawing/2014/main" id="{E60571A8-50D4-42C3-B0BB-CBAC9BCA8D24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lang="cs-CZ" sz="1200" kern="0" dirty="0">
                    <a:solidFill>
                      <a:srgbClr val="000000"/>
                    </a:solidFill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horní hranice predikce </a:t>
                </a: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třední hodnoty predikce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podní hranice predikce </a:t>
                </a: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5BF47050-791D-4300-9498-18BA71B847DE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  <p:sp>
        <p:nvSpPr>
          <p:cNvPr id="27" name="TextovéPole 26"/>
          <p:cNvSpPr txBox="1"/>
          <p:nvPr/>
        </p:nvSpPr>
        <p:spPr>
          <a:xfrm>
            <a:off x="9803538" y="5840098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Údaje jsou aktuální k 19.12.2021 0:28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958190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1">
            <a:extLst>
              <a:ext uri="{FF2B5EF4-FFF2-40B4-BE49-F238E27FC236}">
                <a16:creationId xmlns:a16="http://schemas.microsoft.com/office/drawing/2014/main" id="{B64DB608-673A-46BD-8E5E-BDC00F4784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6442" y="88247"/>
            <a:ext cx="9885238" cy="896492"/>
          </a:xfrm>
        </p:spPr>
        <p:txBody>
          <a:bodyPr>
            <a:normAutofit fontScale="90000"/>
          </a:bodyPr>
          <a:lstStyle/>
          <a:p>
            <a:r>
              <a:rPr lang="cs-CZ" dirty="0"/>
              <a:t>VÝVOJ POČTU HOSPITALIZACÍ – CELKOVÉ A JIP – OD BŘEZNA 2020</a:t>
            </a:r>
            <a:br>
              <a:rPr lang="cs-CZ" dirty="0"/>
            </a:br>
            <a:r>
              <a:rPr kumimoji="0" lang="cs-CZ" sz="2000" b="0" i="0" u="none" strike="noStrike" kern="1200" cap="all" spc="10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zdroj: ÚZIS,</a:t>
            </a:r>
            <a:r>
              <a:rPr kumimoji="0" lang="nl-NL" sz="2000" b="0" i="0" u="none" strike="noStrike" kern="1200" cap="all" spc="10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 ISIN / COVID-19 - Informační systém </a:t>
            </a:r>
            <a:r>
              <a:rPr kumimoji="0" lang="nl-NL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infekční</a:t>
            </a:r>
            <a:r>
              <a:rPr kumimoji="0" lang="cs-CZ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ch</a:t>
            </a:r>
            <a:r>
              <a:rPr kumimoji="0" lang="nl-NL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 nemoc</a:t>
            </a:r>
            <a:r>
              <a:rPr kumimoji="0" lang="cs-CZ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í</a:t>
            </a:r>
            <a:endParaRPr lang="cs-CZ" sz="2000" b="0" cap="all" spc="100" dirty="0">
              <a:solidFill>
                <a:prstClr val="black">
                  <a:lumMod val="95000"/>
                  <a:lumOff val="5000"/>
                </a:prstClr>
              </a:solidFill>
              <a:latin typeface="Tw Cen MT Condensed" panose="020B0606020104020203"/>
              <a:cs typeface="+mj-cs"/>
            </a:endParaRPr>
          </a:p>
        </p:txBody>
      </p:sp>
      <p:graphicFrame>
        <p:nvGraphicFramePr>
          <p:cNvPr id="6" name="Tabulka 7">
            <a:extLst>
              <a:ext uri="{FF2B5EF4-FFF2-40B4-BE49-F238E27FC236}">
                <a16:creationId xmlns:a16="http://schemas.microsoft.com/office/drawing/2014/main" id="{E4305667-7252-438B-B0A2-AF7DB9A9ED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1708448"/>
              </p:ext>
            </p:extLst>
          </p:nvPr>
        </p:nvGraphicFramePr>
        <p:xfrm>
          <a:off x="8663881" y="3497478"/>
          <a:ext cx="3311505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3329">
                  <a:extLst>
                    <a:ext uri="{9D8B030D-6E8A-4147-A177-3AD203B41FA5}">
                      <a16:colId xmlns:a16="http://schemas.microsoft.com/office/drawing/2014/main" val="1970852530"/>
                    </a:ext>
                  </a:extLst>
                </a:gridCol>
                <a:gridCol w="1087037">
                  <a:extLst>
                    <a:ext uri="{9D8B030D-6E8A-4147-A177-3AD203B41FA5}">
                      <a16:colId xmlns:a16="http://schemas.microsoft.com/office/drawing/2014/main" val="667889362"/>
                    </a:ext>
                  </a:extLst>
                </a:gridCol>
                <a:gridCol w="1111139">
                  <a:extLst>
                    <a:ext uri="{9D8B030D-6E8A-4147-A177-3AD203B41FA5}">
                      <a16:colId xmlns:a16="http://schemas.microsoft.com/office/drawing/2014/main" val="24087539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cs-CZ" sz="13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8.12.2020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9.12.2021</a:t>
                      </a:r>
                      <a:endParaRPr lang="cs-CZ" sz="13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12785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ospitalizac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726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 568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60977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 toho JIP</a:t>
                      </a:r>
                      <a:endParaRPr lang="cs-CZ" sz="13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06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89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6070508"/>
                  </a:ext>
                </a:extLst>
              </a:tr>
            </a:tbl>
          </a:graphicData>
        </a:graphic>
      </p:graphicFrame>
      <p:sp>
        <p:nvSpPr>
          <p:cNvPr id="7" name="Obdélník 6"/>
          <p:cNvSpPr/>
          <p:nvPr/>
        </p:nvSpPr>
        <p:spPr>
          <a:xfrm>
            <a:off x="8663616" y="1992616"/>
            <a:ext cx="331176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 k </a:t>
            </a:r>
            <a:r>
              <a:rPr lang="cs-CZ" b="1" dirty="0">
                <a:solidFill>
                  <a:srgbClr val="000000"/>
                </a:solidFill>
                <a:latin typeface="Arial" panose="020B0604020202020204"/>
              </a:rPr>
              <a:t>19.1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.2021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povídala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 srovnání s 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inulým rokem datům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 </a:t>
            </a:r>
            <a:r>
              <a:rPr lang="cs-CZ" b="1" dirty="0">
                <a:solidFill>
                  <a:srgbClr val="000000"/>
                </a:solidFill>
                <a:latin typeface="Arial" panose="020B0604020202020204"/>
              </a:rPr>
              <a:t>28.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.2020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E4305667-7252-438B-B0A2-AF7DB9A9ED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5198689"/>
              </p:ext>
            </p:extLst>
          </p:nvPr>
        </p:nvGraphicFramePr>
        <p:xfrm>
          <a:off x="9219318" y="4914531"/>
          <a:ext cx="2200366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3329">
                  <a:extLst>
                    <a:ext uri="{9D8B030D-6E8A-4147-A177-3AD203B41FA5}">
                      <a16:colId xmlns:a16="http://schemas.microsoft.com/office/drawing/2014/main" val="1970852530"/>
                    </a:ext>
                  </a:extLst>
                </a:gridCol>
                <a:gridCol w="1087037">
                  <a:extLst>
                    <a:ext uri="{9D8B030D-6E8A-4147-A177-3AD203B41FA5}">
                      <a16:colId xmlns:a16="http://schemas.microsoft.com/office/drawing/2014/main" val="66788936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x. počet</a:t>
                      </a:r>
                      <a:endParaRPr lang="cs-CZ" sz="13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.3.2021</a:t>
                      </a:r>
                      <a:endParaRPr lang="cs-CZ" sz="13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12785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ospitalizac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9 551</a:t>
                      </a:r>
                      <a:endParaRPr lang="cs-CZ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60977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 toho JIP</a:t>
                      </a:r>
                      <a:endParaRPr lang="cs-CZ" sz="13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 886</a:t>
                      </a:r>
                      <a:endParaRPr lang="cs-CZ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6070508"/>
                  </a:ext>
                </a:extLst>
              </a:tr>
            </a:tbl>
          </a:graphicData>
        </a:graphic>
      </p:graphicFrame>
      <p:pic>
        <p:nvPicPr>
          <p:cNvPr id="10" name="Zástupný obsah 7">
            <a:extLst>
              <a:ext uri="{FF2B5EF4-FFF2-40B4-BE49-F238E27FC236}">
                <a16:creationId xmlns:a16="http://schemas.microsoft.com/office/drawing/2014/main" id="{E6FD3F5B-4726-4771-A796-BE3F16F3F4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956" y="905608"/>
            <a:ext cx="8620660" cy="539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495491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Risk </a:t>
            </a:r>
            <a:r>
              <a:rPr lang="cs-CZ" dirty="0" err="1"/>
              <a:t>mapping</a:t>
            </a:r>
            <a:r>
              <a:rPr lang="cs-CZ" dirty="0"/>
              <a:t> – zdroj </a:t>
            </a:r>
            <a:r>
              <a:rPr lang="cs-CZ" dirty="0" smtClean="0"/>
              <a:t>UZIS</a:t>
            </a:r>
            <a:endParaRPr lang="cs-CZ" dirty="0"/>
          </a:p>
        </p:txBody>
      </p:sp>
      <p:sp>
        <p:nvSpPr>
          <p:cNvPr id="4" name="TextovéPole 3"/>
          <p:cNvSpPr txBox="1"/>
          <p:nvPr/>
        </p:nvSpPr>
        <p:spPr>
          <a:xfrm>
            <a:off x="219914" y="951378"/>
            <a:ext cx="99981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nově hospitalizovaných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 COVID-19 v následujících 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 dnech z aktuálního prevalenčního poolu.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7313127"/>
              </p:ext>
            </p:extLst>
          </p:nvPr>
        </p:nvGraphicFramePr>
        <p:xfrm>
          <a:off x="3134561" y="1485449"/>
          <a:ext cx="4919192" cy="4765469"/>
        </p:xfrm>
        <a:graphic>
          <a:graphicData uri="http://schemas.openxmlformats.org/drawingml/2006/table">
            <a:tbl>
              <a:tblPr/>
              <a:tblGrid>
                <a:gridCol w="2175798">
                  <a:extLst>
                    <a:ext uri="{9D8B030D-6E8A-4147-A177-3AD203B41FA5}">
                      <a16:colId xmlns:a16="http://schemas.microsoft.com/office/drawing/2014/main" val="2283760119"/>
                    </a:ext>
                  </a:extLst>
                </a:gridCol>
                <a:gridCol w="2743394">
                  <a:extLst>
                    <a:ext uri="{9D8B030D-6E8A-4147-A177-3AD203B41FA5}">
                      <a16:colId xmlns:a16="http://schemas.microsoft.com/office/drawing/2014/main" val="1182091541"/>
                    </a:ext>
                  </a:extLst>
                </a:gridCol>
              </a:tblGrid>
              <a:tr h="9649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Odhad počtu nově hospitalizovaných z nově pozitivních za posledních 14 dní (do 10 dnů od hodnoceného data, odečteni již hospitalizovaní)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927477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96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13635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51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185210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97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8135392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91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9613277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3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4955046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37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5614860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12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445983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48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5802972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67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0479038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84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4906426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59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085583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0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7665130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40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47245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61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416366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 789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8913107"/>
                  </a:ext>
                </a:extLst>
              </a:tr>
            </a:tbl>
          </a:graphicData>
        </a:graphic>
      </p:graphicFrame>
      <p:sp>
        <p:nvSpPr>
          <p:cNvPr id="6" name="TextovéPole 5"/>
          <p:cNvSpPr txBox="1"/>
          <p:nvPr/>
        </p:nvSpPr>
        <p:spPr>
          <a:xfrm>
            <a:off x="9009114" y="5091561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Údaje jsou aktuální k 19.12.2021 0:28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247766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4605541"/>
              </p:ext>
            </p:extLst>
          </p:nvPr>
        </p:nvGraphicFramePr>
        <p:xfrm>
          <a:off x="332646" y="832094"/>
          <a:ext cx="11405086" cy="4634831"/>
        </p:xfrm>
        <a:graphic>
          <a:graphicData uri="http://schemas.openxmlformats.org/drawingml/2006/table">
            <a:tbl>
              <a:tblPr firstRow="1" firstCol="1" bandRow="1"/>
              <a:tblGrid>
                <a:gridCol w="1399893">
                  <a:extLst>
                    <a:ext uri="{9D8B030D-6E8A-4147-A177-3AD203B41FA5}">
                      <a16:colId xmlns:a16="http://schemas.microsoft.com/office/drawing/2014/main" val="139736479"/>
                    </a:ext>
                  </a:extLst>
                </a:gridCol>
                <a:gridCol w="2170199">
                  <a:extLst>
                    <a:ext uri="{9D8B030D-6E8A-4147-A177-3AD203B41FA5}">
                      <a16:colId xmlns:a16="http://schemas.microsoft.com/office/drawing/2014/main" val="1590847519"/>
                    </a:ext>
                  </a:extLst>
                </a:gridCol>
                <a:gridCol w="2420126">
                  <a:extLst>
                    <a:ext uri="{9D8B030D-6E8A-4147-A177-3AD203B41FA5}">
                      <a16:colId xmlns:a16="http://schemas.microsoft.com/office/drawing/2014/main" val="2576979814"/>
                    </a:ext>
                  </a:extLst>
                </a:gridCol>
                <a:gridCol w="1959490">
                  <a:extLst>
                    <a:ext uri="{9D8B030D-6E8A-4147-A177-3AD203B41FA5}">
                      <a16:colId xmlns:a16="http://schemas.microsoft.com/office/drawing/2014/main" val="2056688962"/>
                    </a:ext>
                  </a:extLst>
                </a:gridCol>
                <a:gridCol w="3455378">
                  <a:extLst>
                    <a:ext uri="{9D8B030D-6E8A-4147-A177-3AD203B41FA5}">
                      <a16:colId xmlns:a16="http://schemas.microsoft.com/office/drawing/2014/main" val="573671383"/>
                    </a:ext>
                  </a:extLst>
                </a:gridCol>
              </a:tblGrid>
              <a:tr h="74033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0206147"/>
                  </a:ext>
                </a:extLst>
              </a:tr>
              <a:tr h="131276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l. m. Prah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5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etrvale kapacitní problémy FTN a</a:t>
                      </a:r>
                      <a:b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NKV, ostatní navyšují kapacity dle potřeby, snaha o maximální zachování</a:t>
                      </a:r>
                      <a:b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30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  <a:p>
                      <a:pPr marL="0" indent="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cs-CZ" sz="1300" b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TN a </a:t>
                      </a:r>
                      <a:r>
                        <a:rPr lang="cs-CZ" sz="1300" b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emocnice na Bulovce hlásí kapacitní problémy na IP.</a:t>
                      </a:r>
                      <a:endParaRPr lang="cs-CZ" sz="1300" b="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91312754"/>
                  </a:ext>
                </a:extLst>
              </a:tr>
              <a:tr h="147797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ardubi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ní provoz je nadále plně zastaven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Onkologická aj. neodkladná operativa běží bez omezení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se ale pozvolna zlepšuje, alespoň z pohledu standardních oddělení, maximalizovány kapacity standardní i intenzivní péče, rezerva lůžek zůstává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iziková je nadále intenzivní péče.</a:t>
                      </a:r>
                      <a:endParaRPr lang="cs-CZ" sz="130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9805074"/>
                  </a:ext>
                </a:extLst>
              </a:tr>
              <a:tr h="87705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álovéhrad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28501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80660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9562845"/>
              </p:ext>
            </p:extLst>
          </p:nvPr>
        </p:nvGraphicFramePr>
        <p:xfrm>
          <a:off x="279292" y="841021"/>
          <a:ext cx="11587543" cy="5025388"/>
        </p:xfrm>
        <a:graphic>
          <a:graphicData uri="http://schemas.openxmlformats.org/drawingml/2006/table">
            <a:tbl>
              <a:tblPr firstRow="1" firstCol="1" bandRow="1"/>
              <a:tblGrid>
                <a:gridCol w="1422287">
                  <a:extLst>
                    <a:ext uri="{9D8B030D-6E8A-4147-A177-3AD203B41FA5}">
                      <a16:colId xmlns:a16="http://schemas.microsoft.com/office/drawing/2014/main" val="2516720382"/>
                    </a:ext>
                  </a:extLst>
                </a:gridCol>
                <a:gridCol w="2204916">
                  <a:extLst>
                    <a:ext uri="{9D8B030D-6E8A-4147-A177-3AD203B41FA5}">
                      <a16:colId xmlns:a16="http://schemas.microsoft.com/office/drawing/2014/main" val="2538168158"/>
                    </a:ext>
                  </a:extLst>
                </a:gridCol>
                <a:gridCol w="2458844">
                  <a:extLst>
                    <a:ext uri="{9D8B030D-6E8A-4147-A177-3AD203B41FA5}">
                      <a16:colId xmlns:a16="http://schemas.microsoft.com/office/drawing/2014/main" val="1374489751"/>
                    </a:ext>
                  </a:extLst>
                </a:gridCol>
                <a:gridCol w="2112580">
                  <a:extLst>
                    <a:ext uri="{9D8B030D-6E8A-4147-A177-3AD203B41FA5}">
                      <a16:colId xmlns:a16="http://schemas.microsoft.com/office/drawing/2014/main" val="2988357666"/>
                    </a:ext>
                  </a:extLst>
                </a:gridCol>
                <a:gridCol w="3388916">
                  <a:extLst>
                    <a:ext uri="{9D8B030D-6E8A-4147-A177-3AD203B41FA5}">
                      <a16:colId xmlns:a16="http://schemas.microsoft.com/office/drawing/2014/main" val="3364315349"/>
                    </a:ext>
                  </a:extLst>
                </a:gridCol>
              </a:tblGrid>
              <a:tr h="59109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5793804"/>
                  </a:ext>
                </a:extLst>
              </a:tr>
              <a:tr h="11889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iber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ochází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k o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ezení kapacity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pacienty v IP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i ve </a:t>
                      </a:r>
                      <a:r>
                        <a:rPr lang="cs-CZ" sz="1300" b="0" i="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and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péči vzhledem k </a:t>
                      </a:r>
                      <a:r>
                        <a:rPr lang="cs-CZ" sz="1300" b="0" i="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eprofilizaci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lůžkové kapacity. Omezená možnost překladů již neinfekčních </a:t>
                      </a:r>
                      <a:r>
                        <a:rPr lang="cs-CZ" sz="1300" b="0" i="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 pacientů.</a:t>
                      </a: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9838243"/>
                  </a:ext>
                </a:extLst>
              </a:tr>
              <a:tr h="138213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lomouc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omezená cca 40-50%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P - vysoká, ale t.č. konstant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bložnost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částečně podíl vysoké mortality v IP)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ajištěn akutní provoz (neodkladné stavy,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nkoopera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)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rvá problém s nedostatkem kvalifikovaného personálu zejména v IP. 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2932507"/>
                  </a:ext>
                </a:extLst>
              </a:tr>
              <a:tr h="139997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zeňs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ktuálně pokles počtu hospitalizovaných ve standardní péči. V rámci Intenzivní péče dochází ke kumulaci pacientů s potřebou ventilační podpory i </a:t>
                      </a:r>
                      <a:r>
                        <a:rPr lang="cs-CZ" sz="1300" b="0" i="0" kern="1200" dirty="0" err="1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COV</a:t>
                      </a: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vypadávají z oficiálních statistik, ale stále blokují lůžka vyšší IP!!)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řetrvává omezení operativy na akutní a nutnou onkologickou.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50780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989657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8781111"/>
              </p:ext>
            </p:extLst>
          </p:nvPr>
        </p:nvGraphicFramePr>
        <p:xfrm>
          <a:off x="350228" y="708347"/>
          <a:ext cx="11519385" cy="5863341"/>
        </p:xfrm>
        <a:graphic>
          <a:graphicData uri="http://schemas.openxmlformats.org/drawingml/2006/table">
            <a:tbl>
              <a:tblPr firstRow="1" firstCol="1" bandRow="1"/>
              <a:tblGrid>
                <a:gridCol w="1413921">
                  <a:extLst>
                    <a:ext uri="{9D8B030D-6E8A-4147-A177-3AD203B41FA5}">
                      <a16:colId xmlns:a16="http://schemas.microsoft.com/office/drawing/2014/main" val="3772522195"/>
                    </a:ext>
                  </a:extLst>
                </a:gridCol>
                <a:gridCol w="2191947">
                  <a:extLst>
                    <a:ext uri="{9D8B030D-6E8A-4147-A177-3AD203B41FA5}">
                      <a16:colId xmlns:a16="http://schemas.microsoft.com/office/drawing/2014/main" val="842899262"/>
                    </a:ext>
                  </a:extLst>
                </a:gridCol>
                <a:gridCol w="2444381">
                  <a:extLst>
                    <a:ext uri="{9D8B030D-6E8A-4147-A177-3AD203B41FA5}">
                      <a16:colId xmlns:a16="http://schemas.microsoft.com/office/drawing/2014/main" val="105783194"/>
                    </a:ext>
                  </a:extLst>
                </a:gridCol>
                <a:gridCol w="2100154">
                  <a:extLst>
                    <a:ext uri="{9D8B030D-6E8A-4147-A177-3AD203B41FA5}">
                      <a16:colId xmlns:a16="http://schemas.microsoft.com/office/drawing/2014/main" val="3894075409"/>
                    </a:ext>
                  </a:extLst>
                </a:gridCol>
                <a:gridCol w="3368982">
                  <a:extLst>
                    <a:ext uri="{9D8B030D-6E8A-4147-A177-3AD203B41FA5}">
                      <a16:colId xmlns:a16="http://schemas.microsoft.com/office/drawing/2014/main" val="2922963808"/>
                    </a:ext>
                  </a:extLst>
                </a:gridCol>
              </a:tblGrid>
              <a:tr h="60313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8164548"/>
                  </a:ext>
                </a:extLst>
              </a:tr>
              <a:tr h="7406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arlovarský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mocnice Sokolov – zcela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zastavena el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ktivní operativ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8287979"/>
                  </a:ext>
                </a:extLst>
              </a:tr>
              <a:tr h="74734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če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Je méně pacientů na HFNO, ale </a:t>
                      </a: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lní se JIP + ARO s pacienty na UPV</a:t>
                      </a:r>
                      <a:endParaRPr lang="cs-CZ" sz="13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6967152"/>
                  </a:ext>
                </a:extLst>
              </a:tr>
              <a:tr h="135713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tředočeský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elkové hodnocení situace – zatím bez potřeby přesunů pacientů mimo spádovou oblast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operativy je nerovnoměrné, někde pouze akutní operativa, jinde ještě omezení do 20%. Souhrnně mezi C/D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623958"/>
                  </a:ext>
                </a:extLst>
              </a:tr>
              <a:tr h="11342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morav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né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oblémy nyní již celoplošně v JMK.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yjovská nemocnice vyhlásila HPO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N Brno omezuje ambulantní péči</a:t>
                      </a:r>
                      <a:r>
                        <a:rPr lang="cs-CZ" sz="1300" b="0" baseline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z důvodu </a:t>
                      </a: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edostatek personálu. 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írné zlepšení situace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bez potřeby mezikrajských překladů.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002855"/>
                  </a:ext>
                </a:extLst>
              </a:tr>
              <a:tr h="115052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ysočin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přímo řízených nemocnicích kraje (Jihlava, Pelhřimov,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avlBro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Třebíč, Nové Město n/M).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obdobná, zatím bez překladů v rámci kraje.</a:t>
                      </a:r>
                      <a:endParaRPr lang="cs-CZ" sz="13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89813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939514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1494973"/>
              </p:ext>
            </p:extLst>
          </p:nvPr>
        </p:nvGraphicFramePr>
        <p:xfrm>
          <a:off x="372867" y="838718"/>
          <a:ext cx="11435203" cy="5212442"/>
        </p:xfrm>
        <a:graphic>
          <a:graphicData uri="http://schemas.openxmlformats.org/drawingml/2006/table">
            <a:tbl>
              <a:tblPr firstRow="1" firstCol="1" bandRow="1"/>
              <a:tblGrid>
                <a:gridCol w="1403588">
                  <a:extLst>
                    <a:ext uri="{9D8B030D-6E8A-4147-A177-3AD203B41FA5}">
                      <a16:colId xmlns:a16="http://schemas.microsoft.com/office/drawing/2014/main" val="3544378427"/>
                    </a:ext>
                  </a:extLst>
                </a:gridCol>
                <a:gridCol w="2175930">
                  <a:extLst>
                    <a:ext uri="{9D8B030D-6E8A-4147-A177-3AD203B41FA5}">
                      <a16:colId xmlns:a16="http://schemas.microsoft.com/office/drawing/2014/main" val="2335077237"/>
                    </a:ext>
                  </a:extLst>
                </a:gridCol>
                <a:gridCol w="2426518">
                  <a:extLst>
                    <a:ext uri="{9D8B030D-6E8A-4147-A177-3AD203B41FA5}">
                      <a16:colId xmlns:a16="http://schemas.microsoft.com/office/drawing/2014/main" val="1383355635"/>
                    </a:ext>
                  </a:extLst>
                </a:gridCol>
                <a:gridCol w="2084806">
                  <a:extLst>
                    <a:ext uri="{9D8B030D-6E8A-4147-A177-3AD203B41FA5}">
                      <a16:colId xmlns:a16="http://schemas.microsoft.com/office/drawing/2014/main" val="142418389"/>
                    </a:ext>
                  </a:extLst>
                </a:gridCol>
                <a:gridCol w="3344361">
                  <a:extLst>
                    <a:ext uri="{9D8B030D-6E8A-4147-A177-3AD203B41FA5}">
                      <a16:colId xmlns:a16="http://schemas.microsoft.com/office/drawing/2014/main" val="413358982"/>
                    </a:ext>
                  </a:extLst>
                </a:gridCol>
              </a:tblGrid>
              <a:tr h="62429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208484"/>
                  </a:ext>
                </a:extLst>
              </a:tr>
              <a:tr h="126786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Ústecký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agnace počtu C19 hospitalizovaných na standardních odděleních i v intenzivní péči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éči se daří zajistit za cenu omezení elektivní péče i výpomoci AČR/HZS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0712985"/>
                  </a:ext>
                </a:extLst>
              </a:tr>
              <a:tr h="1041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Zlín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kraji je pokles denního lineární nárůstu o cca 5-7 pacientů denně na standardních odd.,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atím méně na JIP, ty jsou plné především v menších nemocnicích (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alMez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Vsetín, U.H.)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oblém personálu je ve všech zařízeních – extrémní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U.Hradišt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180 PN, z toho 48 pro COVID)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4531413"/>
                  </a:ext>
                </a:extLst>
              </a:tr>
              <a:tr h="1041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oravskoslez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JIPy plné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zastavená.</a:t>
                      </a:r>
                    </a:p>
                    <a:p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ezinemocničním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transporty v rámci kraje.</a:t>
                      </a:r>
                    </a:p>
                    <a:p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akt. “stabilizovaná“ – snížil se počet nově přijímaných COVID pacientů. </a:t>
                      </a:r>
                    </a:p>
                    <a:p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IP problém s velkým počtem post-COVID pacientů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715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94208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8771770" y="2788977"/>
            <a:ext cx="2923309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 smtClean="0"/>
              <a:t>Obsazená lůžka IP C+ pacienty k </a:t>
            </a:r>
          </a:p>
          <a:p>
            <a:pPr algn="ctr"/>
            <a:r>
              <a:rPr lang="cs-CZ" b="1" dirty="0" smtClean="0"/>
              <a:t>22.12.2021 </a:t>
            </a:r>
            <a:r>
              <a:rPr lang="cs-CZ" b="1" dirty="0" smtClean="0"/>
              <a:t>00:34</a:t>
            </a:r>
            <a:endParaRPr lang="cs-CZ" b="1" dirty="0" smtClean="0"/>
          </a:p>
          <a:p>
            <a:pPr algn="ctr"/>
            <a:endParaRPr lang="cs-CZ" b="1" dirty="0"/>
          </a:p>
          <a:p>
            <a:pPr algn="ctr"/>
            <a:r>
              <a:rPr lang="cs-CZ" b="1" dirty="0" smtClean="0"/>
              <a:t>837</a:t>
            </a:r>
          </a:p>
          <a:p>
            <a:pPr algn="ctr"/>
            <a:endParaRPr lang="cs-CZ" sz="2000" b="1" dirty="0"/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4263650"/>
              </p:ext>
            </p:extLst>
          </p:nvPr>
        </p:nvGraphicFramePr>
        <p:xfrm>
          <a:off x="332818" y="1016732"/>
          <a:ext cx="9048574" cy="5348847"/>
        </p:xfrm>
        <a:graphic>
          <a:graphicData uri="http://schemas.openxmlformats.org/drawingml/2006/table">
            <a:tbl>
              <a:tblPr/>
              <a:tblGrid>
                <a:gridCol w="1920780">
                  <a:extLst>
                    <a:ext uri="{9D8B030D-6E8A-4147-A177-3AD203B41FA5}">
                      <a16:colId xmlns:a16="http://schemas.microsoft.com/office/drawing/2014/main" val="371051966"/>
                    </a:ext>
                  </a:extLst>
                </a:gridCol>
                <a:gridCol w="1175988">
                  <a:extLst>
                    <a:ext uri="{9D8B030D-6E8A-4147-A177-3AD203B41FA5}">
                      <a16:colId xmlns:a16="http://schemas.microsoft.com/office/drawing/2014/main" val="1155729679"/>
                    </a:ext>
                  </a:extLst>
                </a:gridCol>
                <a:gridCol w="1087789">
                  <a:extLst>
                    <a:ext uri="{9D8B030D-6E8A-4147-A177-3AD203B41FA5}">
                      <a16:colId xmlns:a16="http://schemas.microsoft.com/office/drawing/2014/main" val="641189711"/>
                    </a:ext>
                  </a:extLst>
                </a:gridCol>
                <a:gridCol w="1084523">
                  <a:extLst>
                    <a:ext uri="{9D8B030D-6E8A-4147-A177-3AD203B41FA5}">
                      <a16:colId xmlns:a16="http://schemas.microsoft.com/office/drawing/2014/main" val="445531322"/>
                    </a:ext>
                  </a:extLst>
                </a:gridCol>
                <a:gridCol w="1123722">
                  <a:extLst>
                    <a:ext uri="{9D8B030D-6E8A-4147-A177-3AD203B41FA5}">
                      <a16:colId xmlns:a16="http://schemas.microsoft.com/office/drawing/2014/main" val="1679498179"/>
                    </a:ext>
                  </a:extLst>
                </a:gridCol>
                <a:gridCol w="1126988">
                  <a:extLst>
                    <a:ext uri="{9D8B030D-6E8A-4147-A177-3AD203B41FA5}">
                      <a16:colId xmlns:a16="http://schemas.microsoft.com/office/drawing/2014/main" val="57877860"/>
                    </a:ext>
                  </a:extLst>
                </a:gridCol>
                <a:gridCol w="1528784">
                  <a:extLst>
                    <a:ext uri="{9D8B030D-6E8A-4147-A177-3AD203B41FA5}">
                      <a16:colId xmlns:a16="http://schemas.microsoft.com/office/drawing/2014/main" val="4206823156"/>
                    </a:ext>
                  </a:extLst>
                </a:gridCol>
              </a:tblGrid>
              <a:tr h="178857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oddělení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29615082"/>
                  </a:ext>
                </a:extLst>
              </a:tr>
              <a:tr h="178857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(ARO + JIP) v ČR k 22.12. 2021, 11:30 h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805820"/>
                  </a:ext>
                </a:extLst>
              </a:tr>
              <a:tr h="149473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5997144"/>
                  </a:ext>
                </a:extLst>
              </a:tr>
              <a:tr h="166082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ůžka IP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76247234"/>
                  </a:ext>
                </a:extLst>
              </a:tr>
              <a:tr h="645163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8962921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8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79395328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9743805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5870661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19283211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01740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48856550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6601831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6274397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73160722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86415908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0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76420402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69150508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3189182"/>
                  </a:ext>
                </a:extLst>
              </a:tr>
              <a:tr h="1724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3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24534082"/>
                  </a:ext>
                </a:extLst>
              </a:tr>
              <a:tr h="16608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39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9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56130577"/>
                  </a:ext>
                </a:extLst>
              </a:tr>
              <a:tr h="159694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16020682"/>
                  </a:ext>
                </a:extLst>
              </a:tr>
              <a:tr h="149473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65945698"/>
                  </a:ext>
                </a:extLst>
              </a:tr>
              <a:tr h="149473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98878019"/>
                  </a:ext>
                </a:extLst>
              </a:tr>
              <a:tr h="159694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x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718384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571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 smtClean="0"/>
              <a:t>Národní dispečink lůžkové péče</a:t>
            </a:r>
            <a:endParaRPr lang="cs-CZ" sz="2800" dirty="0"/>
          </a:p>
        </p:txBody>
      </p:sp>
      <p:sp>
        <p:nvSpPr>
          <p:cNvPr id="5" name="TextovéPole 4"/>
          <p:cNvSpPr txBox="1"/>
          <p:nvPr/>
        </p:nvSpPr>
        <p:spPr>
          <a:xfrm>
            <a:off x="8888286" y="3247654"/>
            <a:ext cx="29233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IP jsou umístěna na neinfekčních odděleních IP.</a:t>
            </a: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1569887"/>
              </p:ext>
            </p:extLst>
          </p:nvPr>
        </p:nvGraphicFramePr>
        <p:xfrm>
          <a:off x="332819" y="987914"/>
          <a:ext cx="9162874" cy="5350475"/>
        </p:xfrm>
        <a:graphic>
          <a:graphicData uri="http://schemas.openxmlformats.org/drawingml/2006/table">
            <a:tbl>
              <a:tblPr/>
              <a:tblGrid>
                <a:gridCol w="1945043">
                  <a:extLst>
                    <a:ext uri="{9D8B030D-6E8A-4147-A177-3AD203B41FA5}">
                      <a16:colId xmlns:a16="http://schemas.microsoft.com/office/drawing/2014/main" val="1746729869"/>
                    </a:ext>
                  </a:extLst>
                </a:gridCol>
                <a:gridCol w="1190844">
                  <a:extLst>
                    <a:ext uri="{9D8B030D-6E8A-4147-A177-3AD203B41FA5}">
                      <a16:colId xmlns:a16="http://schemas.microsoft.com/office/drawing/2014/main" val="4166643918"/>
                    </a:ext>
                  </a:extLst>
                </a:gridCol>
                <a:gridCol w="1101531">
                  <a:extLst>
                    <a:ext uri="{9D8B030D-6E8A-4147-A177-3AD203B41FA5}">
                      <a16:colId xmlns:a16="http://schemas.microsoft.com/office/drawing/2014/main" val="227426510"/>
                    </a:ext>
                  </a:extLst>
                </a:gridCol>
                <a:gridCol w="1098221">
                  <a:extLst>
                    <a:ext uri="{9D8B030D-6E8A-4147-A177-3AD203B41FA5}">
                      <a16:colId xmlns:a16="http://schemas.microsoft.com/office/drawing/2014/main" val="1719933804"/>
                    </a:ext>
                  </a:extLst>
                </a:gridCol>
                <a:gridCol w="1137915">
                  <a:extLst>
                    <a:ext uri="{9D8B030D-6E8A-4147-A177-3AD203B41FA5}">
                      <a16:colId xmlns:a16="http://schemas.microsoft.com/office/drawing/2014/main" val="2031766194"/>
                    </a:ext>
                  </a:extLst>
                </a:gridCol>
                <a:gridCol w="1141225">
                  <a:extLst>
                    <a:ext uri="{9D8B030D-6E8A-4147-A177-3AD203B41FA5}">
                      <a16:colId xmlns:a16="http://schemas.microsoft.com/office/drawing/2014/main" val="3259074807"/>
                    </a:ext>
                  </a:extLst>
                </a:gridCol>
                <a:gridCol w="1548095">
                  <a:extLst>
                    <a:ext uri="{9D8B030D-6E8A-4147-A177-3AD203B41FA5}">
                      <a16:colId xmlns:a16="http://schemas.microsoft.com/office/drawing/2014/main" val="970686808"/>
                    </a:ext>
                  </a:extLst>
                </a:gridCol>
              </a:tblGrid>
              <a:tr h="170264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ekční oddělení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717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9712096"/>
                  </a:ext>
                </a:extLst>
              </a:tr>
              <a:tr h="179225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na Infekčním oddělení (ARO + JIP) v ČR k 17.12. 2021, 11:30 h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6836335"/>
                  </a:ext>
                </a:extLst>
              </a:tr>
              <a:tr h="149781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4596923"/>
                  </a:ext>
                </a:extLst>
              </a:tr>
              <a:tr h="16642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IP na Infekčním oddělení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3197371"/>
                  </a:ext>
                </a:extLst>
              </a:tr>
              <a:tr h="64649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6178488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6135927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94983407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2828335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1281657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8847955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10057593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34842369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2358854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9096446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9891884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2916684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98108098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419350"/>
                  </a:ext>
                </a:extLst>
              </a:tr>
              <a:tr h="1664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0317454"/>
                  </a:ext>
                </a:extLst>
              </a:tr>
              <a:tr h="1728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73245067"/>
                  </a:ext>
                </a:extLst>
              </a:tr>
              <a:tr h="160023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5019554"/>
                  </a:ext>
                </a:extLst>
              </a:tr>
              <a:tr h="149781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5751279"/>
                  </a:ext>
                </a:extLst>
              </a:tr>
              <a:tr h="149781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30602829"/>
                  </a:ext>
                </a:extLst>
              </a:tr>
              <a:tr h="160023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x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98674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1235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0"/>
            <a:ext cx="9885238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9167693" y="2123615"/>
            <a:ext cx="2786020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bsazená standardní</a:t>
            </a:r>
          </a:p>
          <a:p>
            <a:pPr algn="ctr"/>
            <a:r>
              <a:rPr lang="cs-CZ" b="1" dirty="0"/>
              <a:t> lůžka C+ </a:t>
            </a:r>
            <a:r>
              <a:rPr lang="cs-CZ" b="1" dirty="0" smtClean="0"/>
              <a:t>pacienty k 22.12.2021 </a:t>
            </a:r>
            <a:r>
              <a:rPr lang="cs-CZ" b="1" dirty="0" smtClean="0"/>
              <a:t>00:34</a:t>
            </a:r>
            <a:endParaRPr lang="cs-CZ" b="1" dirty="0" smtClean="0"/>
          </a:p>
          <a:p>
            <a:pPr algn="ctr"/>
            <a:endParaRPr lang="cs-CZ" b="1" dirty="0"/>
          </a:p>
          <a:p>
            <a:pPr algn="ctr"/>
            <a:r>
              <a:rPr lang="cs-CZ" sz="2000" b="1" dirty="0" smtClean="0"/>
              <a:t>3841</a:t>
            </a:r>
            <a:endParaRPr lang="cs-CZ" sz="2000" b="1" dirty="0"/>
          </a:p>
        </p:txBody>
      </p:sp>
      <p:sp>
        <p:nvSpPr>
          <p:cNvPr id="3" name="TextovéPole 2"/>
          <p:cNvSpPr txBox="1"/>
          <p:nvPr/>
        </p:nvSpPr>
        <p:spPr>
          <a:xfrm>
            <a:off x="9326849" y="4071853"/>
            <a:ext cx="24677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s kyslíkem jsou umístěna na standardních odděleních.</a:t>
            </a:r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1725792"/>
              </p:ext>
            </p:extLst>
          </p:nvPr>
        </p:nvGraphicFramePr>
        <p:xfrm>
          <a:off x="332818" y="1019055"/>
          <a:ext cx="8336397" cy="5309784"/>
        </p:xfrm>
        <a:graphic>
          <a:graphicData uri="http://schemas.openxmlformats.org/drawingml/2006/table">
            <a:tbl>
              <a:tblPr/>
              <a:tblGrid>
                <a:gridCol w="1694367">
                  <a:extLst>
                    <a:ext uri="{9D8B030D-6E8A-4147-A177-3AD203B41FA5}">
                      <a16:colId xmlns:a16="http://schemas.microsoft.com/office/drawing/2014/main" val="591049565"/>
                    </a:ext>
                  </a:extLst>
                </a:gridCol>
                <a:gridCol w="1037368">
                  <a:extLst>
                    <a:ext uri="{9D8B030D-6E8A-4147-A177-3AD203B41FA5}">
                      <a16:colId xmlns:a16="http://schemas.microsoft.com/office/drawing/2014/main" val="2860102355"/>
                    </a:ext>
                  </a:extLst>
                </a:gridCol>
                <a:gridCol w="959565">
                  <a:extLst>
                    <a:ext uri="{9D8B030D-6E8A-4147-A177-3AD203B41FA5}">
                      <a16:colId xmlns:a16="http://schemas.microsoft.com/office/drawing/2014/main" val="1337983565"/>
                    </a:ext>
                  </a:extLst>
                </a:gridCol>
                <a:gridCol w="956683">
                  <a:extLst>
                    <a:ext uri="{9D8B030D-6E8A-4147-A177-3AD203B41FA5}">
                      <a16:colId xmlns:a16="http://schemas.microsoft.com/office/drawing/2014/main" val="3806700420"/>
                    </a:ext>
                  </a:extLst>
                </a:gridCol>
                <a:gridCol w="991262">
                  <a:extLst>
                    <a:ext uri="{9D8B030D-6E8A-4147-A177-3AD203B41FA5}">
                      <a16:colId xmlns:a16="http://schemas.microsoft.com/office/drawing/2014/main" val="378086463"/>
                    </a:ext>
                  </a:extLst>
                </a:gridCol>
                <a:gridCol w="1348576">
                  <a:extLst>
                    <a:ext uri="{9D8B030D-6E8A-4147-A177-3AD203B41FA5}">
                      <a16:colId xmlns:a16="http://schemas.microsoft.com/office/drawing/2014/main" val="493660898"/>
                    </a:ext>
                  </a:extLst>
                </a:gridCol>
                <a:gridCol w="1348576">
                  <a:extLst>
                    <a:ext uri="{9D8B030D-6E8A-4147-A177-3AD203B41FA5}">
                      <a16:colId xmlns:a16="http://schemas.microsoft.com/office/drawing/2014/main" val="740535733"/>
                    </a:ext>
                  </a:extLst>
                </a:gridCol>
              </a:tblGrid>
              <a:tr h="185107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a infekční oddělení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29641687"/>
                  </a:ext>
                </a:extLst>
              </a:tr>
              <a:tr h="185107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17.12. 2021, 11:30 h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4179052"/>
                  </a:ext>
                </a:extLst>
              </a:tr>
              <a:tr h="15469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81128896"/>
                  </a:ext>
                </a:extLst>
              </a:tr>
              <a:tr h="18510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tní lůžka na Infekčním oddělení s O</a:t>
                      </a:r>
                      <a:r>
                        <a:rPr lang="pl-PL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pl-PL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25693050"/>
                  </a:ext>
                </a:extLst>
              </a:tr>
              <a:tr h="502433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standardní lůžka 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na Infekčním oddělení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3090208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4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3014426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8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1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0803705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9140780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9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4398926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6328291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8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1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6605323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9722091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0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7561826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222853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3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4322330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91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1822042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9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3708664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215780"/>
                  </a:ext>
                </a:extLst>
              </a:tr>
              <a:tr h="17188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2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6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788787"/>
                  </a:ext>
                </a:extLst>
              </a:tr>
              <a:tr h="17849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51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8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37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4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3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2304697"/>
                  </a:ext>
                </a:extLst>
              </a:tr>
              <a:tr h="165274">
                <a:tc gridSpan="7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2202515"/>
                  </a:ext>
                </a:extLst>
              </a:tr>
              <a:tr h="154697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43907072"/>
                  </a:ext>
                </a:extLst>
              </a:tr>
              <a:tr h="154697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ch kapacit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42076194"/>
                  </a:ext>
                </a:extLst>
              </a:tr>
              <a:tr h="165274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 aktualizací starší 48 hod.: 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x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959447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4316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Neaktualizovaná ZZ v DIP déle než 48 h</a:t>
            </a:r>
            <a:endParaRPr lang="cs-CZ" dirty="0"/>
          </a:p>
        </p:txBody>
      </p:sp>
      <p:sp>
        <p:nvSpPr>
          <p:cNvPr id="6" name="TextovéPole 5"/>
          <p:cNvSpPr txBox="1"/>
          <p:nvPr/>
        </p:nvSpPr>
        <p:spPr>
          <a:xfrm>
            <a:off x="8617671" y="4968723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</a:t>
            </a:r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.12.2021 11:30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ovéPole 6"/>
          <p:cNvSpPr txBox="1"/>
          <p:nvPr/>
        </p:nvSpPr>
        <p:spPr>
          <a:xfrm>
            <a:off x="8617671" y="2809292"/>
            <a:ext cx="273319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Žádáme všechna ZZ o aktualizaci volných lůžkových kapacit každý den i během víkendů.</a:t>
            </a:r>
            <a:endParaRPr lang="cs-CZ" dirty="0"/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9388844"/>
              </p:ext>
            </p:extLst>
          </p:nvPr>
        </p:nvGraphicFramePr>
        <p:xfrm>
          <a:off x="1257035" y="1497791"/>
          <a:ext cx="5855943" cy="3823330"/>
        </p:xfrm>
        <a:graphic>
          <a:graphicData uri="http://schemas.openxmlformats.org/drawingml/2006/table">
            <a:tbl>
              <a:tblPr/>
              <a:tblGrid>
                <a:gridCol w="3654057">
                  <a:extLst>
                    <a:ext uri="{9D8B030D-6E8A-4147-A177-3AD203B41FA5}">
                      <a16:colId xmlns:a16="http://schemas.microsoft.com/office/drawing/2014/main" val="107433437"/>
                    </a:ext>
                  </a:extLst>
                </a:gridCol>
                <a:gridCol w="607983">
                  <a:extLst>
                    <a:ext uri="{9D8B030D-6E8A-4147-A177-3AD203B41FA5}">
                      <a16:colId xmlns:a16="http://schemas.microsoft.com/office/drawing/2014/main" val="4164856319"/>
                    </a:ext>
                  </a:extLst>
                </a:gridCol>
                <a:gridCol w="1593903">
                  <a:extLst>
                    <a:ext uri="{9D8B030D-6E8A-4147-A177-3AD203B41FA5}">
                      <a16:colId xmlns:a16="http://schemas.microsoft.com/office/drawing/2014/main" val="3820816568"/>
                    </a:ext>
                  </a:extLst>
                </a:gridCol>
              </a:tblGrid>
              <a:tr h="31813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ktualizace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8834143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lastní </a:t>
                      </a:r>
                      <a:r>
                        <a:rPr lang="cs-CZ" sz="1300" b="0" i="0" u="none" strike="noStrike" dirty="0" err="1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</a:t>
                      </a:r>
                      <a:r>
                        <a:rPr lang="cs-CZ" sz="13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 Kolín, a.s., Nemocnice Kutná Hora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6.12.2021 13:14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5469866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 err="1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odská</a:t>
                      </a:r>
                      <a:r>
                        <a:rPr lang="cs-CZ" sz="13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nemocnice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L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7.12.2021 9:09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789447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Nové Město na Moravě, </a:t>
                      </a:r>
                      <a:r>
                        <a:rPr lang="cs-CZ" sz="1300" b="0" i="0" u="none" strike="noStrike" dirty="0" err="1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.o</a:t>
                      </a:r>
                      <a:r>
                        <a:rPr lang="cs-CZ" sz="13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YS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7.12.2021 20:32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5483184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vní privátní chirurgické centrum, spol. s r.o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K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7.12.2021 22:10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7939742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Strakonice,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H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.12.2021 15:05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6894770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Písek,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H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9.12.2021 10:54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719681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Žatec, o.p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L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9.12.2021 17:56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2888615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pl-PL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akultní nemocnice u sv. Anny v Brně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HM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.12.2021 7:20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6704426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pt-BR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P Hospitals, s.r.o., Nemocnice Brandýs n/L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.12.2021 11:27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247725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Nymburk s.r.o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.12.2021 11:32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20809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719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19809"/>
            <a:ext cx="9885238" cy="896492"/>
          </a:xfrm>
        </p:spPr>
        <p:txBody>
          <a:bodyPr>
            <a:normAutofit/>
          </a:bodyPr>
          <a:lstStyle/>
          <a:p>
            <a:r>
              <a:rPr lang="cs-CZ" dirty="0" smtClean="0"/>
              <a:t>NDLP – Stav očkování u hospitalizovaných pacientů</a:t>
            </a:r>
            <a:endParaRPr lang="cs-CZ" sz="2800" dirty="0"/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4053095"/>
              </p:ext>
            </p:extLst>
          </p:nvPr>
        </p:nvGraphicFramePr>
        <p:xfrm>
          <a:off x="905440" y="1861611"/>
          <a:ext cx="8652072" cy="32678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3018">
                  <a:extLst>
                    <a:ext uri="{9D8B030D-6E8A-4147-A177-3AD203B41FA5}">
                      <a16:colId xmlns:a16="http://schemas.microsoft.com/office/drawing/2014/main" val="2672105997"/>
                    </a:ext>
                  </a:extLst>
                </a:gridCol>
                <a:gridCol w="149527">
                  <a:extLst>
                    <a:ext uri="{9D8B030D-6E8A-4147-A177-3AD203B41FA5}">
                      <a16:colId xmlns:a16="http://schemas.microsoft.com/office/drawing/2014/main" val="2565829457"/>
                    </a:ext>
                  </a:extLst>
                </a:gridCol>
                <a:gridCol w="2013491">
                  <a:extLst>
                    <a:ext uri="{9D8B030D-6E8A-4147-A177-3AD203B41FA5}">
                      <a16:colId xmlns:a16="http://schemas.microsoft.com/office/drawing/2014/main" val="4257011553"/>
                    </a:ext>
                  </a:extLst>
                </a:gridCol>
                <a:gridCol w="2329909">
                  <a:extLst>
                    <a:ext uri="{9D8B030D-6E8A-4147-A177-3AD203B41FA5}">
                      <a16:colId xmlns:a16="http://schemas.microsoft.com/office/drawing/2014/main" val="3540943450"/>
                    </a:ext>
                  </a:extLst>
                </a:gridCol>
                <a:gridCol w="729761">
                  <a:extLst>
                    <a:ext uri="{9D8B030D-6E8A-4147-A177-3AD203B41FA5}">
                      <a16:colId xmlns:a16="http://schemas.microsoft.com/office/drawing/2014/main" val="1484824574"/>
                    </a:ext>
                  </a:extLst>
                </a:gridCol>
                <a:gridCol w="1266366">
                  <a:extLst>
                    <a:ext uri="{9D8B030D-6E8A-4147-A177-3AD203B41FA5}">
                      <a16:colId xmlns:a16="http://schemas.microsoft.com/office/drawing/2014/main" val="15660643"/>
                    </a:ext>
                  </a:extLst>
                </a:gridCol>
              </a:tblGrid>
              <a:tr h="451806">
                <a:tc>
                  <a:txBody>
                    <a:bodyPr/>
                    <a:lstStyle/>
                    <a:p>
                      <a:endParaRPr lang="cs-CZ" sz="1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cs-CZ" sz="1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300" b="0" i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Stav</a:t>
                      </a:r>
                      <a:r>
                        <a:rPr lang="cs-CZ" sz="1300" b="0" i="0" baseline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 k 22.12.2021 </a:t>
                      </a:r>
                      <a:r>
                        <a:rPr lang="cs-CZ" sz="1300" b="0" i="0" baseline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00:34 </a:t>
                      </a:r>
                      <a:r>
                        <a:rPr lang="cs-CZ" sz="1300" b="0" i="0" baseline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h</a:t>
                      </a:r>
                      <a:endParaRPr lang="cs-CZ" sz="1300" b="0" i="0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cs-CZ" sz="1200" b="0" i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300" b="0" i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Zdroj: ÚZIS</a:t>
                      </a:r>
                      <a:endParaRPr lang="cs-CZ" sz="1300" b="0" i="0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9070743"/>
                  </a:ext>
                </a:extLst>
              </a:tr>
              <a:tr h="557021">
                <a:tc gridSpan="6"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Celkem hospitalizovaných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PAC C+                   </a:t>
                      </a:r>
                      <a:r>
                        <a:rPr lang="cs-CZ" sz="2400" b="1" baseline="0" dirty="0" smtClean="0">
                          <a:latin typeface="+mj-lt"/>
                          <a:cs typeface="Calibri" panose="020F0502020204030204" pitchFamily="34" charset="0"/>
                        </a:rPr>
                        <a:t>4 678</a:t>
                      </a:r>
                      <a:endParaRPr lang="cs-CZ" sz="2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7492961"/>
                  </a:ext>
                </a:extLst>
              </a:tr>
              <a:tr h="451806">
                <a:tc gridSpan="3">
                  <a:txBody>
                    <a:bodyPr/>
                    <a:lstStyle/>
                    <a:p>
                      <a:pPr algn="ctr"/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</a:t>
                      </a:r>
                      <a:endParaRPr lang="cs-CZ" sz="14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963122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Neočkovaní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2478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53 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AC na JIP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837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71675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Nedokončené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očko.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160  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3,4 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 </a:t>
                      </a: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neočkovaní</a:t>
                      </a:r>
                      <a:endParaRPr lang="cs-CZ" sz="14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567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 (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67,7 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2755086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Dokončené očko.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1667</a:t>
                      </a:r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35,6 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AC na standart O2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3841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084318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osilovací dávka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 373  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8 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 </a:t>
                      </a: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neočkovaní</a:t>
                      </a:r>
                      <a:endParaRPr lang="cs-CZ" sz="1400" b="0" dirty="0" smtClean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1947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50,7 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76608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86537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37394"/>
            <a:ext cx="9885238" cy="896492"/>
          </a:xfrm>
        </p:spPr>
        <p:txBody>
          <a:bodyPr>
            <a:normAutofit/>
          </a:bodyPr>
          <a:lstStyle/>
          <a:p>
            <a:r>
              <a:rPr lang="cs-CZ" dirty="0" smtClean="0"/>
              <a:t>NDLP </a:t>
            </a:r>
            <a:r>
              <a:rPr lang="cs-CZ" dirty="0"/>
              <a:t>-</a:t>
            </a:r>
            <a:r>
              <a:rPr lang="cs-CZ" dirty="0" smtClean="0"/>
              <a:t> Souhrn - aktualizace</a:t>
            </a:r>
            <a:endParaRPr lang="cs-CZ" sz="2800" dirty="0"/>
          </a:p>
        </p:txBody>
      </p:sp>
      <p:graphicFrame>
        <p:nvGraphicFramePr>
          <p:cNvPr id="8" name="Tabulk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0702836"/>
              </p:ext>
            </p:extLst>
          </p:nvPr>
        </p:nvGraphicFramePr>
        <p:xfrm>
          <a:off x="803513" y="1619682"/>
          <a:ext cx="4777098" cy="1341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199">
                  <a:extLst>
                    <a:ext uri="{9D8B030D-6E8A-4147-A177-3AD203B41FA5}">
                      <a16:colId xmlns:a16="http://schemas.microsoft.com/office/drawing/2014/main" val="2209585095"/>
                    </a:ext>
                  </a:extLst>
                </a:gridCol>
                <a:gridCol w="2033899">
                  <a:extLst>
                    <a:ext uri="{9D8B030D-6E8A-4147-A177-3AD203B41FA5}">
                      <a16:colId xmlns:a16="http://schemas.microsoft.com/office/drawing/2014/main" val="3513835546"/>
                    </a:ext>
                  </a:extLst>
                </a:gridCol>
              </a:tblGrid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apacity lůžkové péče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k 22.12.2021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62031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ov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39</a:t>
                      </a:r>
                      <a:endParaRPr lang="cs-CZ" sz="16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848900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oln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,7 %</a:t>
                      </a:r>
                      <a:endParaRPr lang="cs-CZ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4842585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sazenost C+ pac. n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0 %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753387"/>
                  </a:ext>
                </a:extLst>
              </a:tr>
            </a:tbl>
          </a:graphicData>
        </a:graphic>
      </p:graphicFrame>
      <p:sp>
        <p:nvSpPr>
          <p:cNvPr id="4" name="TextovéPole 3"/>
          <p:cNvSpPr txBox="1"/>
          <p:nvPr/>
        </p:nvSpPr>
        <p:spPr>
          <a:xfrm>
            <a:off x="687313" y="3263615"/>
            <a:ext cx="1056860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alší informace - aktualizace: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cs-CZ" dirty="0" smtClean="0">
              <a:solidFill>
                <a:prstClr val="black"/>
              </a:solidFill>
              <a:latin typeface="Segoe UI"/>
            </a:endParaRPr>
          </a:p>
          <a:p>
            <a:pPr marL="342900" lvl="0" indent="-342900">
              <a:buFont typeface="+mj-lt"/>
              <a:buAutoNum type="arabicParenR"/>
              <a:defRPr/>
            </a:pPr>
            <a:r>
              <a:rPr lang="cs-CZ" dirty="0" smtClean="0">
                <a:solidFill>
                  <a:prstClr val="black"/>
                </a:solidFill>
                <a:latin typeface="Segoe UI"/>
              </a:rPr>
              <a:t>Za 21.12. bylo 272 nově přijatých 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C+ pacientů 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a </a:t>
            </a:r>
            <a:r>
              <a:rPr lang="cs-CZ" dirty="0" smtClean="0"/>
              <a:t>489 propuštěných.</a:t>
            </a:r>
            <a:endParaRPr lang="cs-CZ" dirty="0">
              <a:solidFill>
                <a:prstClr val="black"/>
              </a:solidFill>
              <a:latin typeface="Segoe UI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arenR"/>
              <a:tabLst/>
              <a:defRPr/>
            </a:pPr>
            <a:endParaRPr lang="cs-CZ" dirty="0" smtClean="0">
              <a:solidFill>
                <a:prstClr val="black"/>
              </a:solidFill>
              <a:latin typeface="Segoe UI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arenR"/>
              <a:tabLst/>
              <a:defRPr/>
            </a:pPr>
            <a:r>
              <a:rPr lang="cs-CZ" dirty="0" smtClean="0">
                <a:solidFill>
                  <a:prstClr val="black"/>
                </a:solidFill>
                <a:latin typeface="Segoe UI"/>
              </a:rPr>
              <a:t>KKIP – bez požadavků na mezikrajové překlady. Situace v krajích neměnná (omezený personál, zastavená </a:t>
            </a:r>
            <a:r>
              <a:rPr lang="cs-CZ" dirty="0" err="1" smtClean="0">
                <a:solidFill>
                  <a:prstClr val="black"/>
                </a:solidFill>
                <a:latin typeface="Segoe UI"/>
              </a:rPr>
              <a:t>elektiva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), ale dochází k mírnému zlepšení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.</a:t>
            </a:r>
            <a:endParaRPr lang="cs-CZ" dirty="0">
              <a:solidFill>
                <a:prstClr val="black"/>
              </a:solidFill>
              <a:latin typeface="Segoe UI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cs-CZ" dirty="0" smtClean="0">
              <a:solidFill>
                <a:prstClr val="black"/>
              </a:solidFill>
              <a:latin typeface="Segoe UI"/>
            </a:endParaRPr>
          </a:p>
        </p:txBody>
      </p:sp>
      <p:sp>
        <p:nvSpPr>
          <p:cNvPr id="3" name="TextovéPole 2"/>
          <p:cNvSpPr txBox="1"/>
          <p:nvPr/>
        </p:nvSpPr>
        <p:spPr>
          <a:xfrm>
            <a:off x="5897634" y="1606585"/>
            <a:ext cx="5254894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cs-CZ" b="1" u="sng" dirty="0" smtClean="0">
                <a:latin typeface="Segoe UI" panose="020B0502040204020203" pitchFamily="34" charset="0"/>
                <a:cs typeface="Segoe UI" panose="020B0502040204020203" pitchFamily="34" charset="0"/>
              </a:rPr>
              <a:t>Hodnocení:</a:t>
            </a:r>
          </a:p>
          <a:p>
            <a:pPr lvl="0"/>
            <a:r>
              <a:rPr lang="cs-CZ" dirty="0" smtClean="0">
                <a:latin typeface="Segoe UI" panose="020B0502040204020203" pitchFamily="34" charset="0"/>
                <a:cs typeface="Segoe UI" panose="020B0502040204020203" pitchFamily="34" charset="0"/>
              </a:rPr>
              <a:t>Volná kapacita </a:t>
            </a:r>
            <a:r>
              <a:rPr lang="cs-CZ" dirty="0" smtClean="0">
                <a:latin typeface="Segoe UI" panose="020B0502040204020203" pitchFamily="34" charset="0"/>
                <a:cs typeface="Segoe UI" panose="020B0502040204020203" pitchFamily="34" charset="0"/>
              </a:rPr>
              <a:t>JIP </a:t>
            </a:r>
            <a:r>
              <a:rPr lang="cs-CZ" dirty="0" smtClean="0">
                <a:latin typeface="Segoe UI" panose="020B0502040204020203" pitchFamily="34" charset="0"/>
                <a:cs typeface="Segoe UI" panose="020B0502040204020203" pitchFamily="34" charset="0"/>
              </a:rPr>
              <a:t>již druhý týden stoupá </a:t>
            </a:r>
            <a:r>
              <a:rPr lang="cs-CZ" dirty="0" smtClean="0">
                <a:latin typeface="Segoe UI" panose="020B0502040204020203" pitchFamily="34" charset="0"/>
                <a:cs typeface="Segoe UI" panose="020B0502040204020203" pitchFamily="34" charset="0"/>
              </a:rPr>
              <a:t>a </a:t>
            </a:r>
            <a:r>
              <a:rPr lang="cs-CZ" dirty="0" smtClean="0">
                <a:latin typeface="Segoe UI" panose="020B0502040204020203" pitchFamily="34" charset="0"/>
                <a:cs typeface="Segoe UI" panose="020B0502040204020203" pitchFamily="34" charset="0"/>
              </a:rPr>
              <a:t>zároveň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lesá </a:t>
            </a:r>
            <a:r>
              <a:rPr lang="cs-CZ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odíl C+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cientů.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ůžka jsou, ale stále obsazena post COVID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c.</a:t>
            </a:r>
            <a:endParaRPr lang="cs-CZ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2815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</a:t>
            </a:r>
            <a:r>
              <a:rPr lang="cs-CZ" dirty="0"/>
              <a:t>standartních lůžek s kyslíkem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58086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ůžek s kyslíkem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" name="TextovéPole 4"/>
          <p:cNvSpPr txBox="1"/>
          <p:nvPr/>
        </p:nvSpPr>
        <p:spPr>
          <a:xfrm>
            <a:off x="9009114" y="5091561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Údaje jsou aktuální k 19.12.2021 0:28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520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JIP</a:t>
            </a:r>
            <a:endParaRPr lang="cs-CZ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46921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JIP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" name="TextovéPole 4"/>
          <p:cNvSpPr txBox="1"/>
          <p:nvPr/>
        </p:nvSpPr>
        <p:spPr>
          <a:xfrm>
            <a:off x="9009114" y="5091561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Údaje jsou aktuální k 19.12.2021 0:28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91438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2.xml><?xml version="1.0" encoding="utf-8"?>
<a:theme xmlns:a="http://schemas.openxmlformats.org/drawingml/2006/main" name="1_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+Sagoe">
      <a:majorFont>
        <a:latin typeface="Arial"/>
        <a:ea typeface=""/>
        <a:cs typeface=""/>
      </a:majorFont>
      <a:minorFont>
        <a:latin typeface="Segoe U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5.xml><?xml version="1.0" encoding="utf-8"?>
<a:theme xmlns:a="http://schemas.openxmlformats.org/drawingml/2006/main" name="3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6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covid-reporting-20200715</Template>
  <TotalTime>23544</TotalTime>
  <Words>2452</Words>
  <Application>Microsoft Office PowerPoint</Application>
  <PresentationFormat>Širokoúhlá obrazovka</PresentationFormat>
  <Paragraphs>732</Paragraphs>
  <Slides>18</Slides>
  <Notes>4</Notes>
  <HiddenSlides>0</HiddenSlides>
  <MMClips>0</MMClips>
  <ScaleCrop>false</ScaleCrop>
  <HeadingPairs>
    <vt:vector size="6" baseType="variant">
      <vt:variant>
        <vt:lpstr>Použitá písma</vt:lpstr>
      </vt:variant>
      <vt:variant>
        <vt:i4>7</vt:i4>
      </vt:variant>
      <vt:variant>
        <vt:lpstr>Motiv</vt:lpstr>
      </vt:variant>
      <vt:variant>
        <vt:i4>5</vt:i4>
      </vt:variant>
      <vt:variant>
        <vt:lpstr>Nadpisy snímků</vt:lpstr>
      </vt:variant>
      <vt:variant>
        <vt:i4>18</vt:i4>
      </vt:variant>
    </vt:vector>
  </HeadingPairs>
  <TitlesOfParts>
    <vt:vector size="30" baseType="lpstr">
      <vt:lpstr>Arial</vt:lpstr>
      <vt:lpstr>Arial Black</vt:lpstr>
      <vt:lpstr>Calibri</vt:lpstr>
      <vt:lpstr>Calibri Light</vt:lpstr>
      <vt:lpstr>Segoe UI</vt:lpstr>
      <vt:lpstr>Times New Roman</vt:lpstr>
      <vt:lpstr>Tw Cen MT Condensed</vt:lpstr>
      <vt:lpstr>Motiv Office</vt:lpstr>
      <vt:lpstr>1_Motiv Office</vt:lpstr>
      <vt:lpstr>Office Theme</vt:lpstr>
      <vt:lpstr>2_Motiv Office</vt:lpstr>
      <vt:lpstr>3_Motiv Office</vt:lpstr>
      <vt:lpstr>Operační briefing ICŘT   Národní dispečink lůžkové péče </vt:lpstr>
      <vt:lpstr>Národní dispečink lůžkové péče</vt:lpstr>
      <vt:lpstr>Národní dispečink lůžkové péče</vt:lpstr>
      <vt:lpstr>Národní dispečink lůžkové péče</vt:lpstr>
      <vt:lpstr>Neaktualizovaná ZZ v DIP déle než 48 h</vt:lpstr>
      <vt:lpstr>NDLP – Stav očkování u hospitalizovaných pacientů</vt:lpstr>
      <vt:lpstr>NDLP - Souhrn - aktualizace</vt:lpstr>
      <vt:lpstr>Podíl (%) volné aktuálně nahlášené kapacity standartních lůžek s kyslíkem</vt:lpstr>
      <vt:lpstr>Podíl (%) volné aktuálně nahlášené kapacity JIP</vt:lpstr>
      <vt:lpstr>Podíl (%) volné aktuálně nahlášené kapacity UPV</vt:lpstr>
      <vt:lpstr>Predikce celkového počtu hospitalizací – aktuální počet léčených </vt:lpstr>
      <vt:lpstr>Predikce počtu pacientů na JIP – aktuální počet případů </vt:lpstr>
      <vt:lpstr>VÝVOJ POČTU HOSPITALIZACÍ – CELKOVÉ A JIP – OD BŘEZNA 2020 zdroj: ÚZIS, ISIN / COVID-19 - Informační systém infekčních nemocí</vt:lpstr>
      <vt:lpstr>Risk mapping – zdroj UZIS</vt:lpstr>
      <vt:lpstr>Hodnocení situace v krajích od KKIP</vt:lpstr>
      <vt:lpstr>Hodnocení situace v krajích od KKIP</vt:lpstr>
      <vt:lpstr>Hodnocení situace v krajích od KKIP</vt:lpstr>
      <vt:lpstr>Hodnocení situace v krajích od KKI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Ondřej Růžička</cp:lastModifiedBy>
  <cp:revision>1772</cp:revision>
  <cp:lastPrinted>2020-10-20T04:21:56Z</cp:lastPrinted>
  <dcterms:created xsi:type="dcterms:W3CDTF">2020-07-15T10:33:32Z</dcterms:created>
  <dcterms:modified xsi:type="dcterms:W3CDTF">2021-12-22T10:55:39Z</dcterms:modified>
</cp:coreProperties>
</file>